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Ex1.xml" ContentType="application/vnd.ms-office.chartex+xml"/>
  <Override PartName="/ppt/charts/style2.xml" ContentType="application/vnd.ms-office.chartstyle+xml"/>
  <Override PartName="/ppt/charts/colors2.xml" ContentType="application/vnd.ms-office.chartcolorstyl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92" r:id="rId5"/>
    <p:sldMasterId id="2147483724" r:id="rId6"/>
  </p:sldMasterIdLst>
  <p:notesMasterIdLst>
    <p:notesMasterId r:id="rId28"/>
  </p:notesMasterIdLst>
  <p:sldIdLst>
    <p:sldId id="259" r:id="rId7"/>
    <p:sldId id="258" r:id="rId8"/>
    <p:sldId id="283" r:id="rId9"/>
    <p:sldId id="260" r:id="rId10"/>
    <p:sldId id="369" r:id="rId11"/>
    <p:sldId id="339" r:id="rId12"/>
    <p:sldId id="368" r:id="rId13"/>
    <p:sldId id="370" r:id="rId14"/>
    <p:sldId id="371" r:id="rId15"/>
    <p:sldId id="372" r:id="rId16"/>
    <p:sldId id="373" r:id="rId17"/>
    <p:sldId id="374" r:id="rId18"/>
    <p:sldId id="280" r:id="rId19"/>
    <p:sldId id="375" r:id="rId20"/>
    <p:sldId id="376" r:id="rId21"/>
    <p:sldId id="333" r:id="rId22"/>
    <p:sldId id="377" r:id="rId23"/>
    <p:sldId id="378" r:id="rId24"/>
    <p:sldId id="379" r:id="rId25"/>
    <p:sldId id="380" r:id="rId26"/>
    <p:sldId id="381" r:id="rId27"/>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304C"/>
    <a:srgbClr val="338DBD"/>
    <a:srgbClr val="E6E7E7"/>
    <a:srgbClr val="98BED2"/>
    <a:srgbClr val="2F88B9"/>
    <a:srgbClr val="12ABDB"/>
    <a:srgbClr val="9AC0D4"/>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40AAA48-15D9-4EB4-B767-F8296E962EEE}" v="3" dt="2024-05-21T23:08:09.36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43" autoAdjust="0"/>
    <p:restoredTop sz="94660"/>
  </p:normalViewPr>
  <p:slideViewPr>
    <p:cSldViewPr snapToGrid="0">
      <p:cViewPr varScale="1">
        <p:scale>
          <a:sx n="82" d="100"/>
          <a:sy n="82" d="100"/>
        </p:scale>
        <p:origin x="40" y="164"/>
      </p:cViewPr>
      <p:guideLst/>
    </p:cSldViewPr>
  </p:slideViewPr>
  <p:notesTextViewPr>
    <p:cViewPr>
      <p:scale>
        <a:sx n="1" d="1"/>
        <a:sy n="1" d="1"/>
      </p:scale>
      <p:origin x="0" y="0"/>
    </p:cViewPr>
  </p:notesTextViewPr>
  <p:sorterViewPr>
    <p:cViewPr>
      <p:scale>
        <a:sx n="90" d="100"/>
        <a:sy n="90" d="100"/>
      </p:scale>
      <p:origin x="0" y="-1003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6!$F$12</c:f>
              <c:strCache>
                <c:ptCount val="1"/>
                <c:pt idx="0">
                  <c:v>GMF BARRE DE TOIT EN K°/00</c:v>
                </c:pt>
              </c:strCache>
            </c:strRef>
          </c:tx>
          <c:spPr>
            <a:ln w="31750" cap="rnd">
              <a:solidFill>
                <a:schemeClr val="accent1">
                  <a:lumMod val="75000"/>
                </a:schemeClr>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6!$G$9:$M$9</c:f>
              <c:numCache>
                <c:formatCode>mmm\-yy</c:formatCode>
                <c:ptCount val="7"/>
                <c:pt idx="0">
                  <c:v>43282</c:v>
                </c:pt>
                <c:pt idx="1">
                  <c:v>43313</c:v>
                </c:pt>
                <c:pt idx="2">
                  <c:v>43344</c:v>
                </c:pt>
                <c:pt idx="3">
                  <c:v>43374</c:v>
                </c:pt>
                <c:pt idx="4">
                  <c:v>43405</c:v>
                </c:pt>
                <c:pt idx="5">
                  <c:v>43435</c:v>
                </c:pt>
                <c:pt idx="6">
                  <c:v>43466</c:v>
                </c:pt>
              </c:numCache>
            </c:numRef>
          </c:cat>
          <c:val>
            <c:numRef>
              <c:f>Sheet6!$G$12:$M$12</c:f>
              <c:numCache>
                <c:formatCode>General</c:formatCode>
                <c:ptCount val="7"/>
                <c:pt idx="0">
                  <c:v>1</c:v>
                </c:pt>
                <c:pt idx="1">
                  <c:v>3.7</c:v>
                </c:pt>
                <c:pt idx="2">
                  <c:v>0.8</c:v>
                </c:pt>
                <c:pt idx="3">
                  <c:v>0.9</c:v>
                </c:pt>
                <c:pt idx="4">
                  <c:v>0.6</c:v>
                </c:pt>
                <c:pt idx="5">
                  <c:v>0.5</c:v>
                </c:pt>
                <c:pt idx="6">
                  <c:v>0.9</c:v>
                </c:pt>
              </c:numCache>
            </c:numRef>
          </c:val>
          <c:smooth val="0"/>
          <c:extLst>
            <c:ext xmlns:c16="http://schemas.microsoft.com/office/drawing/2014/chart" uri="{C3380CC4-5D6E-409C-BE32-E72D297353CC}">
              <c16:uniqueId val="{00000000-EA3B-4A19-B51F-9EE561EE6232}"/>
            </c:ext>
          </c:extLst>
        </c:ser>
        <c:ser>
          <c:idx val="1"/>
          <c:order val="1"/>
          <c:tx>
            <c:strRef>
              <c:f>Sheet6!$F$13</c:f>
              <c:strCache>
                <c:ptCount val="1"/>
                <c:pt idx="0">
                  <c:v>GMF DE LA GAMME B52 EN K°/00</c:v>
                </c:pt>
              </c:strCache>
            </c:strRef>
          </c:tx>
          <c:spPr>
            <a:ln w="31750" cap="rnd">
              <a:solidFill>
                <a:schemeClr val="bg2">
                  <a:lumMod val="75000"/>
                </a:schemeClr>
              </a:solidFill>
              <a:round/>
            </a:ln>
            <a:effectLst/>
          </c:spPr>
          <c:marker>
            <c:symbol val="circle"/>
            <c:size val="5"/>
            <c:spPr>
              <a:solidFill>
                <a:schemeClr val="bg2">
                  <a:lumMod val="50000"/>
                </a:schemeClr>
              </a:solidFill>
              <a:ln w="9525">
                <a:solidFill>
                  <a:schemeClr val="bg2">
                    <a:lumMod val="7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6!$G$9:$M$9</c:f>
              <c:numCache>
                <c:formatCode>mmm\-yy</c:formatCode>
                <c:ptCount val="7"/>
                <c:pt idx="0">
                  <c:v>43282</c:v>
                </c:pt>
                <c:pt idx="1">
                  <c:v>43313</c:v>
                </c:pt>
                <c:pt idx="2">
                  <c:v>43344</c:v>
                </c:pt>
                <c:pt idx="3">
                  <c:v>43374</c:v>
                </c:pt>
                <c:pt idx="4">
                  <c:v>43405</c:v>
                </c:pt>
                <c:pt idx="5">
                  <c:v>43435</c:v>
                </c:pt>
                <c:pt idx="6">
                  <c:v>43466</c:v>
                </c:pt>
              </c:numCache>
            </c:numRef>
          </c:cat>
          <c:val>
            <c:numRef>
              <c:f>Sheet6!$G$13:$M$13</c:f>
              <c:numCache>
                <c:formatCode>General</c:formatCode>
                <c:ptCount val="7"/>
                <c:pt idx="0">
                  <c:v>7.1</c:v>
                </c:pt>
                <c:pt idx="1">
                  <c:v>9</c:v>
                </c:pt>
                <c:pt idx="2">
                  <c:v>12.4</c:v>
                </c:pt>
                <c:pt idx="3">
                  <c:v>6</c:v>
                </c:pt>
                <c:pt idx="4">
                  <c:v>7</c:v>
                </c:pt>
                <c:pt idx="5">
                  <c:v>4.0999999999999996</c:v>
                </c:pt>
                <c:pt idx="6">
                  <c:v>8.8000000000000007</c:v>
                </c:pt>
              </c:numCache>
            </c:numRef>
          </c:val>
          <c:smooth val="0"/>
          <c:extLst>
            <c:ext xmlns:c16="http://schemas.microsoft.com/office/drawing/2014/chart" uri="{C3380CC4-5D6E-409C-BE32-E72D297353CC}">
              <c16:uniqueId val="{00000001-EA3B-4A19-B51F-9EE561EE6232}"/>
            </c:ext>
          </c:extLst>
        </c:ser>
        <c:ser>
          <c:idx val="2"/>
          <c:order val="2"/>
          <c:tx>
            <c:strRef>
              <c:f>Sheet6!$F$14</c:f>
              <c:strCache>
                <c:ptCount val="1"/>
                <c:pt idx="0">
                  <c:v>OBJECTIF GMF POUR LA GAMME B52 EN K°/00</c:v>
                </c:pt>
              </c:strCache>
            </c:strRef>
          </c:tx>
          <c:spPr>
            <a:ln w="31750" cap="rnd">
              <a:solidFill>
                <a:schemeClr val="accent2"/>
              </a:solidFill>
              <a:round/>
            </a:ln>
            <a:effectLst/>
          </c:spPr>
          <c:marker>
            <c:symbol val="none"/>
          </c:marker>
          <c:dLbls>
            <c:dLbl>
              <c:idx val="0"/>
              <c:layout>
                <c:manualLayout>
                  <c:x val="-6.3277777777777794E-2"/>
                  <c:y val="1.62383347914843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A3B-4A19-B51F-9EE561EE6232}"/>
                </c:ext>
              </c:extLst>
            </c:dLbl>
            <c:dLbl>
              <c:idx val="1"/>
              <c:delete val="1"/>
              <c:extLst>
                <c:ext xmlns:c15="http://schemas.microsoft.com/office/drawing/2012/chart" uri="{CE6537A1-D6FC-4f65-9D91-7224C49458BB}"/>
                <c:ext xmlns:c16="http://schemas.microsoft.com/office/drawing/2014/chart" uri="{C3380CC4-5D6E-409C-BE32-E72D297353CC}">
                  <c16:uniqueId val="{00000003-EA3B-4A19-B51F-9EE561EE6232}"/>
                </c:ext>
              </c:extLst>
            </c:dLbl>
            <c:dLbl>
              <c:idx val="2"/>
              <c:layout>
                <c:manualLayout>
                  <c:x val="-3.5499999999999997E-2"/>
                  <c:y val="-4.85764800233304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A3B-4A19-B51F-9EE561EE6232}"/>
                </c:ext>
              </c:extLst>
            </c:dLbl>
            <c:dLbl>
              <c:idx val="3"/>
              <c:delete val="1"/>
              <c:extLst>
                <c:ext xmlns:c15="http://schemas.microsoft.com/office/drawing/2012/chart" uri="{CE6537A1-D6FC-4f65-9D91-7224C49458BB}"/>
                <c:ext xmlns:c16="http://schemas.microsoft.com/office/drawing/2014/chart" uri="{C3380CC4-5D6E-409C-BE32-E72D297353CC}">
                  <c16:uniqueId val="{00000005-EA3B-4A19-B51F-9EE561EE6232}"/>
                </c:ext>
              </c:extLst>
            </c:dLbl>
            <c:dLbl>
              <c:idx val="4"/>
              <c:delete val="1"/>
              <c:extLst>
                <c:ext xmlns:c15="http://schemas.microsoft.com/office/drawing/2012/chart" uri="{CE6537A1-D6FC-4f65-9D91-7224C49458BB}"/>
                <c:ext xmlns:c16="http://schemas.microsoft.com/office/drawing/2014/chart" uri="{C3380CC4-5D6E-409C-BE32-E72D297353CC}">
                  <c16:uniqueId val="{00000006-EA3B-4A19-B51F-9EE561EE6232}"/>
                </c:ext>
              </c:extLst>
            </c:dLbl>
            <c:dLbl>
              <c:idx val="5"/>
              <c:delete val="1"/>
              <c:extLst>
                <c:ext xmlns:c15="http://schemas.microsoft.com/office/drawing/2012/chart" uri="{CE6537A1-D6FC-4f65-9D91-7224C49458BB}"/>
                <c:ext xmlns:c16="http://schemas.microsoft.com/office/drawing/2014/chart" uri="{C3380CC4-5D6E-409C-BE32-E72D297353CC}">
                  <c16:uniqueId val="{00000007-EA3B-4A19-B51F-9EE561EE6232}"/>
                </c:ext>
              </c:extLst>
            </c:dLbl>
            <c:dLbl>
              <c:idx val="6"/>
              <c:delete val="1"/>
              <c:extLst>
                <c:ext xmlns:c15="http://schemas.microsoft.com/office/drawing/2012/chart" uri="{CE6537A1-D6FC-4f65-9D91-7224C49458BB}"/>
                <c:ext xmlns:c16="http://schemas.microsoft.com/office/drawing/2014/chart" uri="{C3380CC4-5D6E-409C-BE32-E72D297353CC}">
                  <c16:uniqueId val="{00000008-EA3B-4A19-B51F-9EE561EE623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6!$G$9:$M$9</c:f>
              <c:numCache>
                <c:formatCode>mmm\-yy</c:formatCode>
                <c:ptCount val="7"/>
                <c:pt idx="0">
                  <c:v>43282</c:v>
                </c:pt>
                <c:pt idx="1">
                  <c:v>43313</c:v>
                </c:pt>
                <c:pt idx="2">
                  <c:v>43344</c:v>
                </c:pt>
                <c:pt idx="3">
                  <c:v>43374</c:v>
                </c:pt>
                <c:pt idx="4">
                  <c:v>43405</c:v>
                </c:pt>
                <c:pt idx="5">
                  <c:v>43435</c:v>
                </c:pt>
                <c:pt idx="6">
                  <c:v>43466</c:v>
                </c:pt>
              </c:numCache>
            </c:numRef>
          </c:cat>
          <c:val>
            <c:numRef>
              <c:f>Sheet6!$G$14:$M$14</c:f>
              <c:numCache>
                <c:formatCode>General</c:formatCode>
                <c:ptCount val="7"/>
                <c:pt idx="0">
                  <c:v>7</c:v>
                </c:pt>
                <c:pt idx="1">
                  <c:v>7</c:v>
                </c:pt>
                <c:pt idx="2">
                  <c:v>7</c:v>
                </c:pt>
                <c:pt idx="3">
                  <c:v>7</c:v>
                </c:pt>
                <c:pt idx="4">
                  <c:v>7</c:v>
                </c:pt>
                <c:pt idx="5">
                  <c:v>7</c:v>
                </c:pt>
                <c:pt idx="6">
                  <c:v>7</c:v>
                </c:pt>
              </c:numCache>
            </c:numRef>
          </c:val>
          <c:smooth val="0"/>
          <c:extLst>
            <c:ext xmlns:c16="http://schemas.microsoft.com/office/drawing/2014/chart" uri="{C3380CC4-5D6E-409C-BE32-E72D297353CC}">
              <c16:uniqueId val="{00000009-EA3B-4A19-B51F-9EE561EE6232}"/>
            </c:ext>
          </c:extLst>
        </c:ser>
        <c:dLbls>
          <c:dLblPos val="t"/>
          <c:showLegendKey val="0"/>
          <c:showVal val="1"/>
          <c:showCatName val="0"/>
          <c:showSerName val="0"/>
          <c:showPercent val="0"/>
          <c:showBubbleSize val="0"/>
        </c:dLbls>
        <c:marker val="1"/>
        <c:smooth val="0"/>
        <c:axId val="723609664"/>
        <c:axId val="723609992"/>
      </c:lineChart>
      <c:dateAx>
        <c:axId val="72360966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r-FR" sz="1050" b="1">
                    <a:solidFill>
                      <a:schemeClr val="tx1"/>
                    </a:solidFill>
                    <a:latin typeface="Times New Roman" panose="02020603050405020304" pitchFamily="18" charset="0"/>
                    <a:cs typeface="Times New Roman" panose="02020603050405020304" pitchFamily="18" charset="0"/>
                  </a:rPr>
                  <a:t>MOIS</a:t>
                </a:r>
              </a:p>
            </c:rich>
          </c:tx>
          <c:layout>
            <c:manualLayout>
              <c:xMode val="edge"/>
              <c:yMode val="edge"/>
              <c:x val="0.44857883615630434"/>
              <c:y val="0.8266459560709420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en-US"/>
          </a:p>
        </c:txPr>
        <c:crossAx val="723609992"/>
        <c:crosses val="autoZero"/>
        <c:auto val="1"/>
        <c:lblOffset val="100"/>
        <c:baseTimeUnit val="months"/>
      </c:dateAx>
      <c:valAx>
        <c:axId val="723609992"/>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solidFill>
                    <a:latin typeface="+mn-lt"/>
                    <a:ea typeface="+mn-ea"/>
                    <a:cs typeface="+mn-cs"/>
                  </a:defRPr>
                </a:pPr>
                <a:r>
                  <a:rPr lang="fr-FR" sz="1600" b="1" i="0" kern="1200" baseline="0">
                    <a:solidFill>
                      <a:schemeClr val="tx1"/>
                    </a:solidFill>
                    <a:effectLst/>
                    <a:latin typeface="Times New Roman" panose="02020603050405020304" pitchFamily="18" charset="0"/>
                    <a:cs typeface="Times New Roman" panose="02020603050405020304" pitchFamily="18" charset="0"/>
                  </a:rPr>
                  <a:t>GMF K°/00 </a:t>
                </a:r>
                <a:endParaRPr lang="fr-FR" sz="1600">
                  <a:solidFill>
                    <a:schemeClr val="tx1"/>
                  </a:solidFill>
                  <a:effectLst/>
                </a:endParaRPr>
              </a:p>
            </c:rich>
          </c:tx>
          <c:layout>
            <c:manualLayout>
              <c:xMode val="edge"/>
              <c:yMode val="edge"/>
              <c:x val="1.9444498641209673E-2"/>
              <c:y val="0.26670457859434238"/>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crossAx val="723609664"/>
        <c:crosses val="autoZero"/>
        <c:crossBetween val="between"/>
      </c:valAx>
      <c:spPr>
        <a:noFill/>
        <a:ln>
          <a:noFill/>
        </a:ln>
        <a:effectLst/>
      </c:spPr>
    </c:plotArea>
    <c:legend>
      <c:legendPos val="b"/>
      <c:layout>
        <c:manualLayout>
          <c:xMode val="edge"/>
          <c:yMode val="edge"/>
          <c:x val="0.14748002228523438"/>
          <c:y val="0.91358246295029"/>
          <c:w val="0.7757182968980838"/>
          <c:h val="8.3056227814750389E-2"/>
        </c:manualLayout>
      </c:layout>
      <c:overlay val="0"/>
      <c:spPr>
        <a:noFill/>
        <a:ln>
          <a:noFill/>
        </a:ln>
        <a:effectLst/>
      </c:spPr>
      <c:txPr>
        <a:bodyPr rot="0" spcFirstLastPara="1" vertOverflow="ellipsis" vert="horz" wrap="square" anchor="ctr" anchorCtr="1"/>
        <a:lstStyle/>
        <a:p>
          <a:pPr>
            <a:defRPr sz="1100" b="1" i="0" u="none" strike="noStrike" kern="1200" baseline="0">
              <a:ln>
                <a:noFill/>
              </a:ln>
              <a:solidFill>
                <a:schemeClr val="tx1"/>
              </a:solidFill>
              <a:latin typeface="Times New Roman" panose="02020603050405020304" pitchFamily="18" charset="0"/>
              <a:ea typeface="+mn-ea"/>
              <a:cs typeface="Times New Roman" panose="02020603050405020304" pitchFamily="18"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2!$D$8:$D$13</cx:f>
        <cx:lvl ptCount="6">
          <cx:pt idx="1">BM 50</cx:pt>
          <cx:pt idx="2">CCD500</cx:pt>
          <cx:pt idx="3">CCG500</cx:pt>
          <cx:pt idx="4">Montage</cx:pt>
          <cx:pt idx="5">Emboutissage </cx:pt>
        </cx:lvl>
      </cx:strDim>
      <cx:numDim type="val">
        <cx:f>Sheet2!$E$8:$E$13</cx:f>
        <cx:lvl ptCount="6" formatCode="Standard">
          <cx:pt idx="0">0</cx:pt>
          <cx:pt idx="1">900</cx:pt>
          <cx:pt idx="2">300</cx:pt>
          <cx:pt idx="3">225</cx:pt>
          <cx:pt idx="4">30</cx:pt>
          <cx:pt idx="5">45</cx:pt>
        </cx:lvl>
      </cx:numDim>
    </cx:data>
    <cx:data id="1">
      <cx:strDim type="cat">
        <cx:f>Sheet2!$D$8:$D$13</cx:f>
        <cx:lvl ptCount="6">
          <cx:pt idx="1">BM 50</cx:pt>
          <cx:pt idx="2">CCD500</cx:pt>
          <cx:pt idx="3">CCG500</cx:pt>
          <cx:pt idx="4">Montage</cx:pt>
          <cx:pt idx="5">Emboutissage </cx:pt>
        </cx:lvl>
      </cx:strDim>
      <cx:numDim type="val">
        <cx:f>Sheet2!$F$8:$F$13</cx:f>
        <cx:lvl ptCount="6" formatCode="Standard">
          <cx:pt idx="0">0</cx:pt>
          <cx:pt idx="1">0.59999999999999998</cx:pt>
          <cx:pt idx="2">0.20000000000000001</cx:pt>
          <cx:pt idx="3">0.14999999999999999</cx:pt>
          <cx:pt idx="4">0.02</cx:pt>
          <cx:pt idx="5">0.029999999999999999</cx:pt>
        </cx:lvl>
      </cx:numDim>
    </cx:data>
    <cx:data id="2">
      <cx:strDim type="cat">
        <cx:f>Sheet2!$D$8:$D$13</cx:f>
        <cx:lvl ptCount="6">
          <cx:pt idx="1">BM 50</cx:pt>
          <cx:pt idx="2">CCD500</cx:pt>
          <cx:pt idx="3">CCG500</cx:pt>
          <cx:pt idx="4">Montage</cx:pt>
          <cx:pt idx="5">Emboutissage </cx:pt>
        </cx:lvl>
      </cx:strDim>
      <cx:numDim type="val">
        <cx:f>Sheet2!$G$8:$G$13</cx:f>
        <cx:lvl ptCount="6" formatCode="Standard">
          <cx:pt idx="0">0</cx:pt>
          <cx:pt idx="1">0.59999999999999998</cx:pt>
          <cx:pt idx="2">0.80000000000000004</cx:pt>
          <cx:pt idx="3">0.94999999999999996</cx:pt>
          <cx:pt idx="4">0.96999999999999997</cx:pt>
          <cx:pt idx="5">1</cx:pt>
        </cx:lvl>
      </cx:numDim>
    </cx:data>
    <cx:data id="3">
      <cx:strDim type="cat">
        <cx:f>Sheet2!$D$8:$D$13</cx:f>
        <cx:lvl ptCount="6">
          <cx:pt idx="1">BM 50</cx:pt>
          <cx:pt idx="2">CCD500</cx:pt>
          <cx:pt idx="3">CCG500</cx:pt>
          <cx:pt idx="4">Montage</cx:pt>
          <cx:pt idx="5">Emboutissage </cx:pt>
        </cx:lvl>
      </cx:strDim>
      <cx:numDim type="val">
        <cx:f>Sheet2!$H$8:$H$13</cx:f>
        <cx:lvl ptCount="6" formatCode="Standard"/>
      </cx:numDim>
    </cx:data>
  </cx:chartData>
  <cx:chart>
    <cx:title pos="t" align="ctr" overlay="0">
      <cx:tx>
        <cx:txData>
          <cx:v>Diagramme Pareto des postes de défaut mal fixation des barres de toit </cx:v>
        </cx:txData>
      </cx:tx>
      <cx:txPr>
        <a:bodyPr spcFirstLastPara="1" vertOverflow="ellipsis" horzOverflow="overflow" wrap="square" lIns="0" tIns="0" rIns="0" bIns="0" anchor="ctr" anchorCtr="1"/>
        <a:lstStyle/>
        <a:p>
          <a:pPr algn="ctr" rtl="0">
            <a:defRPr sz="1600" b="0"/>
          </a:pPr>
          <a:r>
            <a:rPr lang="en-US" sz="1600" b="0" i="0" u="none" strike="noStrike" baseline="0">
              <a:solidFill>
                <a:schemeClr val="tx1"/>
              </a:solidFill>
              <a:latin typeface="Times New Roman" panose="02020603050405020304" pitchFamily="18" charset="0"/>
              <a:cs typeface="Times New Roman" panose="02020603050405020304" pitchFamily="18" charset="0"/>
            </a:rPr>
            <a:t>Diagramme Pareto des postes de défaut mal fixation des barres de toit </a:t>
          </a:r>
        </a:p>
      </cx:txPr>
    </cx:title>
    <cx:plotArea>
      <cx:plotAreaRegion>
        <cx:series layoutId="clusteredColumn" uniqueId="{19297387-2BFC-4FCD-94E4-500FD329ACCF}" formatIdx="0">
          <cx:dataId val="0"/>
          <cx:layoutPr>
            <cx:aggregation/>
          </cx:layoutPr>
          <cx:axisId val="1"/>
        </cx:series>
        <cx:series layoutId="paretoLine" ownerIdx="0" uniqueId="{B0738A23-7AE2-4D5F-B045-D6FFEC4CA7E8}" formatIdx="1">
          <cx:axisId val="2"/>
        </cx:series>
        <cx:series layoutId="clusteredColumn" hidden="1" uniqueId="{836FB479-DDC5-4C26-87F6-5A0DAE392F73}" formatIdx="2">
          <cx:dataId val="1"/>
          <cx:layoutPr>
            <cx:aggregation/>
          </cx:layoutPr>
          <cx:axisId val="1"/>
        </cx:series>
        <cx:series layoutId="paretoLine" ownerIdx="2" uniqueId="{33524AAC-047F-463A-9657-7A6A6C10B80B}" formatIdx="3">
          <cx:axisId val="2"/>
        </cx:series>
        <cx:series layoutId="clusteredColumn" hidden="1" uniqueId="{1D306AD7-5C8C-4663-A328-4A998A51856E}" formatIdx="4">
          <cx:dataId val="2"/>
          <cx:layoutPr>
            <cx:aggregation/>
          </cx:layoutPr>
          <cx:axisId val="1"/>
        </cx:series>
        <cx:series layoutId="paretoLine" ownerIdx="4" uniqueId="{95A6F233-1F9B-4018-BABE-561CD0FCEDA9}" formatIdx="5">
          <cx:axisId val="2"/>
        </cx:series>
        <cx:series layoutId="clusteredColumn" hidden="1" uniqueId="{8FF54D24-1582-4F8E-B21B-8F7F6CD97B48}" formatIdx="6">
          <cx:dataId val="3"/>
          <cx:layoutPr>
            <cx:aggregation/>
          </cx:layoutPr>
          <cx:axisId val="1"/>
        </cx:series>
        <cx:series layoutId="paretoLine" ownerIdx="6" uniqueId="{99E730F4-822F-480F-B468-DF7418B9AF9E}" formatIdx="7">
          <cx:axisId val="2"/>
        </cx:series>
      </cx:plotAreaRegion>
      <cx:axis id="0">
        <cx:catScaling gapWidth="0"/>
        <cx:title>
          <cx:tx>
            <cx:txData>
              <cx:v>Poste</cx:v>
            </cx:txData>
          </cx:tx>
          <cx:txPr>
            <a:bodyPr spcFirstLastPara="1" vertOverflow="ellipsis" horzOverflow="overflow" wrap="square" lIns="0" tIns="0" rIns="0" bIns="0" anchor="ctr" anchorCtr="1"/>
            <a:lstStyle/>
            <a:p>
              <a:pPr algn="ctr" rtl="0">
                <a:defRPr sz="1600">
                  <a:solidFill>
                    <a:schemeClr val="tx1"/>
                  </a:solidFill>
                </a:defRPr>
              </a:pPr>
              <a:r>
                <a:rPr lang="en-US" sz="1600" b="1" i="0" u="none" strike="noStrike" baseline="0">
                  <a:solidFill>
                    <a:schemeClr val="tx1"/>
                  </a:solidFill>
                  <a:latin typeface="Times New Roman" panose="02020603050405020304" pitchFamily="18" charset="0"/>
                  <a:cs typeface="Times New Roman" panose="02020603050405020304" pitchFamily="18" charset="0"/>
                </a:rPr>
                <a:t>Poste</a:t>
              </a:r>
            </a:p>
          </cx:txPr>
        </cx:title>
        <cx:tickLabels/>
        <cx:txPr>
          <a:bodyPr spcFirstLastPara="1" vertOverflow="ellipsis" horzOverflow="overflow" wrap="square" lIns="0" tIns="0" rIns="0" bIns="0" anchor="ctr" anchorCtr="1"/>
          <a:lstStyle/>
          <a:p>
            <a:pPr algn="ctr" rtl="0">
              <a:defRPr sz="1400" b="1">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pPr>
            <a:endParaRPr lang="en-US" sz="1400" b="1" i="0" u="none" strike="noStrike" baseline="0">
              <a:solidFill>
                <a:schemeClr val="tx1"/>
              </a:solidFill>
              <a:latin typeface="Times New Roman" panose="02020603050405020304" pitchFamily="18" charset="0"/>
              <a:cs typeface="Times New Roman" panose="02020603050405020304" pitchFamily="18" charset="0"/>
            </a:endParaRPr>
          </a:p>
        </cx:txPr>
      </cx:axis>
      <cx:axis id="1">
        <cx:valScaling/>
        <cx:title>
          <cx:tx>
            <cx:txData>
              <cx:v>Nombre des défauts </cx:v>
            </cx:txData>
          </cx:tx>
          <cx:txPr>
            <a:bodyPr spcFirstLastPara="1" vertOverflow="ellipsis" horzOverflow="overflow" wrap="square" lIns="0" tIns="0" rIns="0" bIns="0" anchor="ctr" anchorCtr="1"/>
            <a:lstStyle/>
            <a:p>
              <a:pPr algn="ctr" rtl="0">
                <a:defRPr sz="1600">
                  <a:solidFill>
                    <a:schemeClr val="tx1"/>
                  </a:solidFill>
                </a:defRPr>
              </a:pPr>
              <a:r>
                <a:rPr lang="en-US" sz="1600" b="1" i="0" u="none" strike="noStrike" baseline="0">
                  <a:solidFill>
                    <a:schemeClr val="tx1"/>
                  </a:solidFill>
                  <a:latin typeface="Times New Roman" panose="02020603050405020304" pitchFamily="18" charset="0"/>
                  <a:cs typeface="Times New Roman" panose="02020603050405020304" pitchFamily="18" charset="0"/>
                </a:rPr>
                <a:t>Nombre des défauts </a:t>
              </a:r>
            </a:p>
          </cx:txPr>
        </cx:title>
        <cx:majorGridlines/>
        <cx:tickLabels/>
        <cx:txPr>
          <a:bodyPr spcFirstLastPara="1" vertOverflow="ellipsis" horzOverflow="overflow" wrap="square" lIns="0" tIns="0" rIns="0" bIns="0" anchor="ctr" anchorCtr="1"/>
          <a:lstStyle/>
          <a:p>
            <a:pPr algn="ctr" rtl="0">
              <a:defRPr sz="140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pPr>
            <a:endParaRPr lang="en-US" sz="1400" b="0" i="0" u="none" strike="noStrike" baseline="0">
              <a:solidFill>
                <a:schemeClr val="tx1"/>
              </a:solidFill>
              <a:latin typeface="Times New Roman" panose="02020603050405020304" pitchFamily="18" charset="0"/>
              <a:cs typeface="Times New Roman" panose="02020603050405020304" pitchFamily="18" charset="0"/>
            </a:endParaRPr>
          </a:p>
        </cx:txPr>
      </cx:axis>
      <cx:axis id="2">
        <cx:valScaling max="1" min="0"/>
        <cx:title>
          <cx:tx>
            <cx:txData>
              <cx:v>Porcentage</cx:v>
            </cx:txData>
          </cx:tx>
          <cx:txPr>
            <a:bodyPr spcFirstLastPara="1" vertOverflow="ellipsis" horzOverflow="overflow" wrap="square" lIns="0" tIns="0" rIns="0" bIns="0" anchor="ctr" anchorCtr="1"/>
            <a:lstStyle/>
            <a:p>
              <a:pPr algn="ctr" rtl="0">
                <a:defRPr sz="160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pPr>
              <a:r>
                <a:rPr lang="en-US" sz="1600" b="1" i="0" u="none" strike="noStrike" baseline="0">
                  <a:solidFill>
                    <a:schemeClr val="tx1"/>
                  </a:solidFill>
                  <a:latin typeface="Times New Roman" panose="02020603050405020304" pitchFamily="18" charset="0"/>
                  <a:cs typeface="Times New Roman" panose="02020603050405020304" pitchFamily="18" charset="0"/>
                </a:rPr>
                <a:t>Porcentage</a:t>
              </a:r>
            </a:p>
          </cx:txPr>
        </cx:title>
        <cx:units unit="percentage"/>
        <cx:tickLabels/>
        <cx:txPr>
          <a:bodyPr spcFirstLastPara="1" vertOverflow="ellipsis" horzOverflow="overflow" wrap="square" lIns="0" tIns="0" rIns="0" bIns="0" anchor="ctr" anchorCtr="1"/>
          <a:lstStyle/>
          <a:p>
            <a:pPr algn="ctr" rtl="0">
              <a:defRPr sz="140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pPr>
            <a:endParaRPr lang="en-US" sz="1400" b="0" i="0" u="none" strike="noStrike" baseline="0">
              <a:solidFill>
                <a:schemeClr val="tx1"/>
              </a:solidFill>
              <a:latin typeface="Times New Roman" panose="02020603050405020304" pitchFamily="18" charset="0"/>
              <a:cs typeface="Times New Roman" panose="02020603050405020304" pitchFamily="18" charset="0"/>
            </a:endParaRPr>
          </a:p>
        </cx:txPr>
      </cx:axis>
    </cx:plotArea>
  </cx:chart>
  <cx:spPr>
    <a:ln>
      <a:noFill/>
    </a:ln>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0A643C-8A76-452A-A4F2-B367E215F3B2}" type="datetimeFigureOut">
              <a:rPr lang="fr-FR" smtClean="0"/>
              <a:t>22/05/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ECFFDC-FB63-4621-8FD4-F6BE42A7FEB5}" type="slidenum">
              <a:rPr lang="fr-FR" smtClean="0"/>
              <a:t>‹N°›</a:t>
            </a:fld>
            <a:endParaRPr lang="fr-FR"/>
          </a:p>
        </p:txBody>
      </p:sp>
    </p:spTree>
    <p:extLst>
      <p:ext uri="{BB962C8B-B14F-4D97-AF65-F5344CB8AC3E}">
        <p14:creationId xmlns:p14="http://schemas.microsoft.com/office/powerpoint/2010/main" val="1797369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1B06CD8F-B7ED-4A05-9FB1-A01CC0EF02CC}" type="slidenum">
              <a:rPr lang="fr-FR" smtClean="0">
                <a:solidFill>
                  <a:prstClr val="black"/>
                </a:solidFill>
                <a:latin typeface="Calibri" panose="020F0502020204030204"/>
              </a:rPr>
              <a:pPr>
                <a:defRPr/>
              </a:pPr>
              <a:t>2</a:t>
            </a:fld>
            <a:endParaRPr lang="fr-FR" dirty="0">
              <a:solidFill>
                <a:prstClr val="black"/>
              </a:solidFill>
              <a:latin typeface="Calibri" panose="020F0502020204030204"/>
            </a:endParaRPr>
          </a:p>
        </p:txBody>
      </p:sp>
    </p:spTree>
    <p:extLst>
      <p:ext uri="{BB962C8B-B14F-4D97-AF65-F5344CB8AC3E}">
        <p14:creationId xmlns:p14="http://schemas.microsoft.com/office/powerpoint/2010/main" val="36908830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10"/>
          </p:nvPr>
        </p:nvSpPr>
        <p:spPr/>
        <p:txBody>
          <a:bodyPr/>
          <a:lstStyle/>
          <a:p>
            <a:endParaRPr lang="fr-FR"/>
          </a:p>
        </p:txBody>
      </p:sp>
      <p:sp>
        <p:nvSpPr>
          <p:cNvPr id="5" name="Espace réservé du numéro de diapositive 4"/>
          <p:cNvSpPr>
            <a:spLocks noGrp="1"/>
          </p:cNvSpPr>
          <p:nvPr>
            <p:ph type="sldNum" sz="quarter" idx="11"/>
          </p:nvPr>
        </p:nvSpPr>
        <p:spPr/>
        <p:txBody>
          <a:bodyPr/>
          <a:lstStyle/>
          <a:p>
            <a:fld id="{661CD003-E65F-44E7-804B-EA3D0158AF9A}" type="slidenum">
              <a:rPr lang="fr-FR" smtClean="0"/>
              <a:t>13</a:t>
            </a:fld>
            <a:endParaRPr lang="fr-FR"/>
          </a:p>
        </p:txBody>
      </p:sp>
    </p:spTree>
    <p:extLst>
      <p:ext uri="{BB962C8B-B14F-4D97-AF65-F5344CB8AC3E}">
        <p14:creationId xmlns:p14="http://schemas.microsoft.com/office/powerpoint/2010/main" val="31301550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10"/>
          </p:nvPr>
        </p:nvSpPr>
        <p:spPr/>
        <p:txBody>
          <a:bodyPr/>
          <a:lstStyle/>
          <a:p>
            <a:endParaRPr lang="fr-FR"/>
          </a:p>
        </p:txBody>
      </p:sp>
      <p:sp>
        <p:nvSpPr>
          <p:cNvPr id="5" name="Espace réservé du numéro de diapositive 4"/>
          <p:cNvSpPr>
            <a:spLocks noGrp="1"/>
          </p:cNvSpPr>
          <p:nvPr>
            <p:ph type="sldNum" sz="quarter" idx="11"/>
          </p:nvPr>
        </p:nvSpPr>
        <p:spPr/>
        <p:txBody>
          <a:bodyPr/>
          <a:lstStyle/>
          <a:p>
            <a:fld id="{661CD003-E65F-44E7-804B-EA3D0158AF9A}" type="slidenum">
              <a:rPr lang="fr-FR" smtClean="0"/>
              <a:t>14</a:t>
            </a:fld>
            <a:endParaRPr lang="fr-FR"/>
          </a:p>
        </p:txBody>
      </p:sp>
    </p:spTree>
    <p:extLst>
      <p:ext uri="{BB962C8B-B14F-4D97-AF65-F5344CB8AC3E}">
        <p14:creationId xmlns:p14="http://schemas.microsoft.com/office/powerpoint/2010/main" val="37585542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Lors de la détection de problème de mal fixation des barres de toit (problème de mal </a:t>
            </a:r>
          </a:p>
          <a:p>
            <a:r>
              <a:rPr lang="fr-FR" dirty="0"/>
              <a:t>plaquage),  au  niveau  de  poste  montage  barre  de  toit  au  niveau  de  l’Unité  –  contrôle  – </a:t>
            </a:r>
          </a:p>
          <a:p>
            <a:r>
              <a:rPr lang="fr-FR" dirty="0"/>
              <a:t>satisfaction – client (CSC), le degré de gravité s’impose. Dans le cas de V1, et V2 (gravité </a:t>
            </a:r>
          </a:p>
          <a:p>
            <a:r>
              <a:rPr lang="fr-FR" dirty="0"/>
              <a:t>élevée donc véhicule non vendable et  nécessite des  retouches  obligatoires), nous avons chronométré le temps de retouche en prenons 10 mesures de de chaque gravité et on calculant la moyenne on trouve une moyenne de 560 pour le défaut de gravité V1 et 524 pour V2,ce chiffre est très important par rapport a la cadence de production qui est 200 </a:t>
            </a:r>
            <a:r>
              <a:rPr lang="fr-FR" dirty="0" err="1"/>
              <a:t>cmin</a:t>
            </a:r>
            <a:r>
              <a:rPr lang="fr-FR" dirty="0"/>
              <a:t> </a:t>
            </a:r>
          </a:p>
        </p:txBody>
      </p:sp>
      <p:sp>
        <p:nvSpPr>
          <p:cNvPr id="4" name="Espace réservé du pied de page 3"/>
          <p:cNvSpPr>
            <a:spLocks noGrp="1"/>
          </p:cNvSpPr>
          <p:nvPr>
            <p:ph type="ftr" sz="quarter" idx="10"/>
          </p:nvPr>
        </p:nvSpPr>
        <p:spPr/>
        <p:txBody>
          <a:bodyPr/>
          <a:lstStyle/>
          <a:p>
            <a:endParaRPr lang="fr-FR"/>
          </a:p>
        </p:txBody>
      </p:sp>
      <p:sp>
        <p:nvSpPr>
          <p:cNvPr id="5" name="Espace réservé du numéro de diapositive 4"/>
          <p:cNvSpPr>
            <a:spLocks noGrp="1"/>
          </p:cNvSpPr>
          <p:nvPr>
            <p:ph type="sldNum" sz="quarter" idx="11"/>
          </p:nvPr>
        </p:nvSpPr>
        <p:spPr/>
        <p:txBody>
          <a:bodyPr/>
          <a:lstStyle/>
          <a:p>
            <a:fld id="{661CD003-E65F-44E7-804B-EA3D0158AF9A}" type="slidenum">
              <a:rPr lang="fr-FR" smtClean="0"/>
              <a:t>15</a:t>
            </a:fld>
            <a:endParaRPr lang="fr-FR"/>
          </a:p>
        </p:txBody>
      </p:sp>
    </p:spTree>
    <p:extLst>
      <p:ext uri="{BB962C8B-B14F-4D97-AF65-F5344CB8AC3E}">
        <p14:creationId xmlns:p14="http://schemas.microsoft.com/office/powerpoint/2010/main" val="38333916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charset="0"/>
              <a:buNone/>
              <a:tabLst/>
              <a:defRPr/>
            </a:pPr>
            <a:r>
              <a:rPr lang="fr-FR" dirty="0"/>
              <a:t>Ce dépassement est la résultat de la mauvaise retouche qui a </a:t>
            </a:r>
            <a:r>
              <a:rPr lang="fr-FR" dirty="0" err="1"/>
              <a:t>étaais</a:t>
            </a:r>
            <a:r>
              <a:rPr lang="fr-FR" dirty="0"/>
              <a:t> fait d’une </a:t>
            </a:r>
            <a:r>
              <a:rPr lang="fr-FR" dirty="0" err="1"/>
              <a:t>maniére</a:t>
            </a:r>
            <a:r>
              <a:rPr lang="fr-FR" dirty="0"/>
              <a:t> aléatoire par tapotage sur les romaines a l’aide d’un marteau et a chaque fois il faut vérifier avec la barre de toit si elle plaque ou pas , dans ce cas on à bcp de perte de temps et d’</a:t>
            </a:r>
            <a:r>
              <a:rPr lang="fr-FR" dirty="0" err="1"/>
              <a:t>éffort</a:t>
            </a:r>
            <a:r>
              <a:rPr lang="fr-FR" dirty="0"/>
              <a:t> ,cette opération a étais réalisé par deux retoucheurs de l’atelier montage.</a:t>
            </a:r>
          </a:p>
          <a:p>
            <a:pPr marL="0" marR="0" lvl="0" indent="0" algn="l" defTabSz="914400" rtl="0" eaLnBrk="1" fontAlgn="auto" latinLnBrk="0" hangingPunct="1">
              <a:lnSpc>
                <a:spcPct val="100000"/>
              </a:lnSpc>
              <a:spcBef>
                <a:spcPts val="0"/>
              </a:spcBef>
              <a:spcAft>
                <a:spcPts val="0"/>
              </a:spcAft>
              <a:buClrTx/>
              <a:buSzTx/>
              <a:buFont typeface="Arial" charset="0"/>
              <a:buNone/>
              <a:tabLst/>
              <a:defRPr/>
            </a:pPr>
            <a:endParaRPr lang="fr-FR" sz="1200" kern="1200" dirty="0">
              <a:solidFill>
                <a:schemeClr val="tx1"/>
              </a:solidFill>
              <a:effectLst/>
              <a:latin typeface="+mn-lt"/>
              <a:ea typeface="+mn-ea"/>
              <a:cs typeface="+mn-cs"/>
            </a:endParaRPr>
          </a:p>
        </p:txBody>
      </p:sp>
      <p:sp>
        <p:nvSpPr>
          <p:cNvPr id="4" name="Espace réservé du pied de page 3"/>
          <p:cNvSpPr>
            <a:spLocks noGrp="1"/>
          </p:cNvSpPr>
          <p:nvPr>
            <p:ph type="ftr" sz="quarter" idx="10"/>
          </p:nvPr>
        </p:nvSpPr>
        <p:spPr/>
        <p:txBody>
          <a:bodyPr/>
          <a:lstStyle/>
          <a:p>
            <a:endParaRPr lang="fr-FR"/>
          </a:p>
        </p:txBody>
      </p:sp>
      <p:sp>
        <p:nvSpPr>
          <p:cNvPr id="5" name="Espace réservé du numéro de diapositive 4"/>
          <p:cNvSpPr>
            <a:spLocks noGrp="1"/>
          </p:cNvSpPr>
          <p:nvPr>
            <p:ph type="sldNum" sz="quarter" idx="11"/>
          </p:nvPr>
        </p:nvSpPr>
        <p:spPr/>
        <p:txBody>
          <a:bodyPr/>
          <a:lstStyle/>
          <a:p>
            <a:fld id="{661CD003-E65F-44E7-804B-EA3D0158AF9A}" type="slidenum">
              <a:rPr lang="fr-FR" smtClean="0"/>
              <a:t>16</a:t>
            </a:fld>
            <a:endParaRPr lang="fr-FR"/>
          </a:p>
        </p:txBody>
      </p:sp>
    </p:spTree>
    <p:extLst>
      <p:ext uri="{BB962C8B-B14F-4D97-AF65-F5344CB8AC3E}">
        <p14:creationId xmlns:p14="http://schemas.microsoft.com/office/powerpoint/2010/main" val="21282524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10"/>
          </p:nvPr>
        </p:nvSpPr>
        <p:spPr/>
        <p:txBody>
          <a:bodyPr/>
          <a:lstStyle/>
          <a:p>
            <a:endParaRPr lang="fr-FR"/>
          </a:p>
        </p:txBody>
      </p:sp>
      <p:sp>
        <p:nvSpPr>
          <p:cNvPr id="5" name="Espace réservé du numéro de diapositive 4"/>
          <p:cNvSpPr>
            <a:spLocks noGrp="1"/>
          </p:cNvSpPr>
          <p:nvPr>
            <p:ph type="sldNum" sz="quarter" idx="11"/>
          </p:nvPr>
        </p:nvSpPr>
        <p:spPr/>
        <p:txBody>
          <a:bodyPr/>
          <a:lstStyle/>
          <a:p>
            <a:fld id="{661CD003-E65F-44E7-804B-EA3D0158AF9A}" type="slidenum">
              <a:rPr lang="fr-FR" smtClean="0"/>
              <a:t>17</a:t>
            </a:fld>
            <a:endParaRPr lang="fr-FR"/>
          </a:p>
        </p:txBody>
      </p:sp>
    </p:spTree>
    <p:extLst>
      <p:ext uri="{BB962C8B-B14F-4D97-AF65-F5344CB8AC3E}">
        <p14:creationId xmlns:p14="http://schemas.microsoft.com/office/powerpoint/2010/main" val="1482547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10"/>
          </p:nvPr>
        </p:nvSpPr>
        <p:spPr/>
        <p:txBody>
          <a:bodyPr/>
          <a:lstStyle/>
          <a:p>
            <a:endParaRPr lang="fr-FR"/>
          </a:p>
        </p:txBody>
      </p:sp>
      <p:sp>
        <p:nvSpPr>
          <p:cNvPr id="5" name="Espace réservé du numéro de diapositive 4"/>
          <p:cNvSpPr>
            <a:spLocks noGrp="1"/>
          </p:cNvSpPr>
          <p:nvPr>
            <p:ph type="sldNum" sz="quarter" idx="11"/>
          </p:nvPr>
        </p:nvSpPr>
        <p:spPr/>
        <p:txBody>
          <a:bodyPr/>
          <a:lstStyle/>
          <a:p>
            <a:fld id="{661CD003-E65F-44E7-804B-EA3D0158AF9A}" type="slidenum">
              <a:rPr lang="fr-FR" smtClean="0"/>
              <a:t>18</a:t>
            </a:fld>
            <a:endParaRPr lang="fr-FR"/>
          </a:p>
        </p:txBody>
      </p:sp>
    </p:spTree>
    <p:extLst>
      <p:ext uri="{BB962C8B-B14F-4D97-AF65-F5344CB8AC3E}">
        <p14:creationId xmlns:p14="http://schemas.microsoft.com/office/powerpoint/2010/main" val="29651363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Lors de la détection de problème de mal fixation des barres de toit (problème de mal </a:t>
            </a:r>
          </a:p>
          <a:p>
            <a:r>
              <a:rPr lang="fr-FR" dirty="0"/>
              <a:t>plaquage),  au  niveau  de  poste  montage  barre  de  toit  au  niveau  de  l’Unité  –  contrôle  – </a:t>
            </a:r>
          </a:p>
          <a:p>
            <a:r>
              <a:rPr lang="fr-FR" dirty="0"/>
              <a:t>satisfaction – client (CSC), le degré de gravité s’impose. Dans le cas de V1, et V2 (gravité </a:t>
            </a:r>
          </a:p>
          <a:p>
            <a:r>
              <a:rPr lang="fr-FR" dirty="0"/>
              <a:t>élevée donc véhicule non vendable et  nécessite des  retouches  obligatoires), nous avons chronométré le temps de retouche en prenons 10 mesures de de chaque gravité et on calculant la moyenne on trouve une moyenne de 560 pour le défaut de gravité V1 et 524 pour V2,ce chiffre est très important par rapport a la cadence de production qui est 200 </a:t>
            </a:r>
            <a:r>
              <a:rPr lang="fr-FR" dirty="0" err="1"/>
              <a:t>cmin</a:t>
            </a:r>
            <a:r>
              <a:rPr lang="fr-FR" dirty="0"/>
              <a:t> </a:t>
            </a:r>
          </a:p>
        </p:txBody>
      </p:sp>
      <p:sp>
        <p:nvSpPr>
          <p:cNvPr id="4" name="Espace réservé du pied de page 3"/>
          <p:cNvSpPr>
            <a:spLocks noGrp="1"/>
          </p:cNvSpPr>
          <p:nvPr>
            <p:ph type="ftr" sz="quarter" idx="10"/>
          </p:nvPr>
        </p:nvSpPr>
        <p:spPr/>
        <p:txBody>
          <a:bodyPr/>
          <a:lstStyle/>
          <a:p>
            <a:endParaRPr lang="fr-FR"/>
          </a:p>
        </p:txBody>
      </p:sp>
      <p:sp>
        <p:nvSpPr>
          <p:cNvPr id="5" name="Espace réservé du numéro de diapositive 4"/>
          <p:cNvSpPr>
            <a:spLocks noGrp="1"/>
          </p:cNvSpPr>
          <p:nvPr>
            <p:ph type="sldNum" sz="quarter" idx="11"/>
          </p:nvPr>
        </p:nvSpPr>
        <p:spPr/>
        <p:txBody>
          <a:bodyPr/>
          <a:lstStyle/>
          <a:p>
            <a:fld id="{661CD003-E65F-44E7-804B-EA3D0158AF9A}" type="slidenum">
              <a:rPr lang="fr-FR" smtClean="0"/>
              <a:t>19</a:t>
            </a:fld>
            <a:endParaRPr lang="fr-FR"/>
          </a:p>
        </p:txBody>
      </p:sp>
    </p:spTree>
    <p:extLst>
      <p:ext uri="{BB962C8B-B14F-4D97-AF65-F5344CB8AC3E}">
        <p14:creationId xmlns:p14="http://schemas.microsoft.com/office/powerpoint/2010/main" val="32125169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Lors de la détection de problème de mal fixation des barres de toit (problème de mal </a:t>
            </a:r>
          </a:p>
          <a:p>
            <a:r>
              <a:rPr lang="fr-FR" dirty="0"/>
              <a:t>plaquage),  au  niveau  de  poste  montage  barre  de  toit  au  niveau  de  l’Unité  –  contrôle  – </a:t>
            </a:r>
          </a:p>
          <a:p>
            <a:r>
              <a:rPr lang="fr-FR" dirty="0"/>
              <a:t>satisfaction – client (CSC), le degré de gravité s’impose. Dans le cas de V1, et V2 (gravité </a:t>
            </a:r>
          </a:p>
          <a:p>
            <a:r>
              <a:rPr lang="fr-FR" dirty="0"/>
              <a:t>élevée donc véhicule non vendable et  nécessite des  retouches  obligatoires), nous avons chronométré le temps de retouche en prenons 10 mesures de de chaque gravité et on calculant la moyenne on trouve une moyenne de 560 pour le défaut de gravité V1 et 524 pour V2,ce chiffre est très important par rapport a la cadence de production qui est 200 </a:t>
            </a:r>
            <a:r>
              <a:rPr lang="fr-FR" dirty="0" err="1"/>
              <a:t>cmin</a:t>
            </a:r>
            <a:r>
              <a:rPr lang="fr-FR" dirty="0"/>
              <a:t> </a:t>
            </a:r>
          </a:p>
        </p:txBody>
      </p:sp>
      <p:sp>
        <p:nvSpPr>
          <p:cNvPr id="4" name="Espace réservé du pied de page 3"/>
          <p:cNvSpPr>
            <a:spLocks noGrp="1"/>
          </p:cNvSpPr>
          <p:nvPr>
            <p:ph type="ftr" sz="quarter" idx="10"/>
          </p:nvPr>
        </p:nvSpPr>
        <p:spPr/>
        <p:txBody>
          <a:bodyPr/>
          <a:lstStyle/>
          <a:p>
            <a:endParaRPr lang="fr-FR"/>
          </a:p>
        </p:txBody>
      </p:sp>
      <p:sp>
        <p:nvSpPr>
          <p:cNvPr id="5" name="Espace réservé du numéro de diapositive 4"/>
          <p:cNvSpPr>
            <a:spLocks noGrp="1"/>
          </p:cNvSpPr>
          <p:nvPr>
            <p:ph type="sldNum" sz="quarter" idx="11"/>
          </p:nvPr>
        </p:nvSpPr>
        <p:spPr/>
        <p:txBody>
          <a:bodyPr/>
          <a:lstStyle/>
          <a:p>
            <a:fld id="{661CD003-E65F-44E7-804B-EA3D0158AF9A}" type="slidenum">
              <a:rPr lang="fr-FR" smtClean="0"/>
              <a:t>20</a:t>
            </a:fld>
            <a:endParaRPr lang="fr-FR"/>
          </a:p>
        </p:txBody>
      </p:sp>
    </p:spTree>
    <p:extLst>
      <p:ext uri="{BB962C8B-B14F-4D97-AF65-F5344CB8AC3E}">
        <p14:creationId xmlns:p14="http://schemas.microsoft.com/office/powerpoint/2010/main" val="29292455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Lors de la détection de problème de mal fixation des barres de toit (problème de mal </a:t>
            </a:r>
          </a:p>
          <a:p>
            <a:r>
              <a:rPr lang="fr-FR" dirty="0"/>
              <a:t>plaquage),  au  niveau  de  poste  montage  barre  de  toit  au  niveau  de  l’Unité  –  contrôle  – </a:t>
            </a:r>
          </a:p>
          <a:p>
            <a:r>
              <a:rPr lang="fr-FR" dirty="0"/>
              <a:t>satisfaction – client (CSC), le degré de gravité s’impose. Dans le cas de V1, et V2 (gravité </a:t>
            </a:r>
          </a:p>
          <a:p>
            <a:r>
              <a:rPr lang="fr-FR" dirty="0"/>
              <a:t>élevée donc véhicule non vendable et  nécessite des  retouches  obligatoires), nous avons chronométré le temps de retouche en prenons 10 mesures de de chaque gravité et on calculant la moyenne on trouve une moyenne de 560 pour le défaut de gravité V1 et 524 pour V2,ce chiffre est très important par rapport a la cadence de production qui est 200 </a:t>
            </a:r>
            <a:r>
              <a:rPr lang="fr-FR" dirty="0" err="1"/>
              <a:t>cmin</a:t>
            </a:r>
            <a:r>
              <a:rPr lang="fr-FR" dirty="0"/>
              <a:t> </a:t>
            </a:r>
          </a:p>
        </p:txBody>
      </p:sp>
      <p:sp>
        <p:nvSpPr>
          <p:cNvPr id="4" name="Espace réservé du pied de page 3"/>
          <p:cNvSpPr>
            <a:spLocks noGrp="1"/>
          </p:cNvSpPr>
          <p:nvPr>
            <p:ph type="ftr" sz="quarter" idx="10"/>
          </p:nvPr>
        </p:nvSpPr>
        <p:spPr/>
        <p:txBody>
          <a:bodyPr/>
          <a:lstStyle/>
          <a:p>
            <a:endParaRPr lang="fr-FR"/>
          </a:p>
        </p:txBody>
      </p:sp>
      <p:sp>
        <p:nvSpPr>
          <p:cNvPr id="5" name="Espace réservé du numéro de diapositive 4"/>
          <p:cNvSpPr>
            <a:spLocks noGrp="1"/>
          </p:cNvSpPr>
          <p:nvPr>
            <p:ph type="sldNum" sz="quarter" idx="11"/>
          </p:nvPr>
        </p:nvSpPr>
        <p:spPr/>
        <p:txBody>
          <a:bodyPr/>
          <a:lstStyle/>
          <a:p>
            <a:fld id="{661CD003-E65F-44E7-804B-EA3D0158AF9A}" type="slidenum">
              <a:rPr lang="fr-FR" smtClean="0"/>
              <a:t>21</a:t>
            </a:fld>
            <a:endParaRPr lang="fr-FR"/>
          </a:p>
        </p:txBody>
      </p:sp>
    </p:spTree>
    <p:extLst>
      <p:ext uri="{BB962C8B-B14F-4D97-AF65-F5344CB8AC3E}">
        <p14:creationId xmlns:p14="http://schemas.microsoft.com/office/powerpoint/2010/main" val="28449447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kern="1200" dirty="0">
                <a:solidFill>
                  <a:schemeClr val="tx1"/>
                </a:solidFill>
                <a:latin typeface="+mn-lt"/>
                <a:ea typeface="+mn-ea"/>
                <a:cs typeface="+mn-cs"/>
              </a:rPr>
              <a:t>La concurrence</a:t>
            </a:r>
            <a:r>
              <a:rPr lang="fr-FR" sz="1200" kern="1200" baseline="0" dirty="0">
                <a:solidFill>
                  <a:schemeClr val="tx1"/>
                </a:solidFill>
                <a:latin typeface="+mn-lt"/>
                <a:ea typeface="+mn-ea"/>
                <a:cs typeface="+mn-cs"/>
              </a:rPr>
              <a:t> </a:t>
            </a:r>
            <a:r>
              <a:rPr lang="fr-FR" sz="1200" kern="1200" dirty="0">
                <a:solidFill>
                  <a:schemeClr val="tx1"/>
                </a:solidFill>
                <a:latin typeface="+mn-lt"/>
                <a:ea typeface="+mn-ea"/>
                <a:cs typeface="+mn-cs"/>
              </a:rPr>
              <a:t>est un enjeu majeur pour une entreprise </a:t>
            </a:r>
            <a:r>
              <a:rPr lang="fr-FR" sz="1200" b="1" kern="1200" dirty="0">
                <a:solidFill>
                  <a:schemeClr val="tx1"/>
                </a:solidFill>
                <a:latin typeface="+mn-lt"/>
                <a:ea typeface="+mn-ea"/>
                <a:cs typeface="+mn-cs"/>
              </a:rPr>
              <a:t>qui souhaite </a:t>
            </a:r>
            <a:r>
              <a:rPr lang="fr-FR" sz="1200" kern="1200" dirty="0">
                <a:solidFill>
                  <a:schemeClr val="tx1"/>
                </a:solidFill>
                <a:latin typeface="+mn-lt"/>
                <a:ea typeface="+mn-ea"/>
                <a:cs typeface="+mn-cs"/>
              </a:rPr>
              <a:t>garantir sa pérennité sur le plan économique. Dans cet perspective </a:t>
            </a:r>
            <a:r>
              <a:rPr lang="fr-FR" sz="1200" b="1" kern="1200" dirty="0">
                <a:solidFill>
                  <a:schemeClr val="tx1"/>
                </a:solidFill>
                <a:latin typeface="+mn-lt"/>
                <a:ea typeface="+mn-ea"/>
                <a:cs typeface="+mn-cs"/>
              </a:rPr>
              <a:t>certaines</a:t>
            </a:r>
            <a:r>
              <a:rPr lang="fr-FR" sz="1200" kern="1200" dirty="0">
                <a:solidFill>
                  <a:schemeClr val="tx1"/>
                </a:solidFill>
                <a:latin typeface="+mn-lt"/>
                <a:ea typeface="+mn-ea"/>
                <a:cs typeface="+mn-cs"/>
              </a:rPr>
              <a:t> sociétés telles que Renault Tanger </a:t>
            </a:r>
            <a:r>
              <a:rPr lang="fr-FR" sz="1200" b="1" kern="1200" dirty="0">
                <a:solidFill>
                  <a:schemeClr val="tx1"/>
                </a:solidFill>
                <a:latin typeface="+mn-lt"/>
                <a:ea typeface="+mn-ea"/>
                <a:cs typeface="+mn-cs"/>
              </a:rPr>
              <a:t>s’orientent </a:t>
            </a:r>
            <a:r>
              <a:rPr lang="fr-FR" sz="1200" kern="1200" dirty="0">
                <a:solidFill>
                  <a:schemeClr val="tx1"/>
                </a:solidFill>
                <a:latin typeface="+mn-lt"/>
                <a:ea typeface="+mn-ea"/>
                <a:cs typeface="+mn-cs"/>
              </a:rPr>
              <a:t>vers l’amélioration</a:t>
            </a:r>
            <a:r>
              <a:rPr lang="fr-FR" sz="1200" kern="1200" dirty="0">
                <a:solidFill>
                  <a:schemeClr val="tx1"/>
                </a:solidFill>
                <a:effectLst/>
                <a:latin typeface="+mn-lt"/>
                <a:ea typeface="+mn-ea"/>
                <a:cs typeface="+mn-cs"/>
              </a:rPr>
              <a:t>, </a:t>
            </a:r>
            <a:r>
              <a:rPr lang="fr-FR" sz="1200" kern="1200" dirty="0">
                <a:solidFill>
                  <a:schemeClr val="tx1"/>
                </a:solidFill>
                <a:latin typeface="+mn-lt"/>
                <a:ea typeface="+mn-ea"/>
                <a:cs typeface="+mn-cs"/>
              </a:rPr>
              <a:t>de </a:t>
            </a:r>
            <a:r>
              <a:rPr lang="fr-FR" sz="1200" kern="1200" dirty="0">
                <a:solidFill>
                  <a:schemeClr val="tx1"/>
                </a:solidFill>
                <a:effectLst/>
                <a:latin typeface="+mn-lt"/>
                <a:ea typeface="+mn-ea"/>
                <a:cs typeface="+mn-cs"/>
              </a:rPr>
              <a:t>la  performance , la qualité de son produit et son système de production dans le but d’augmenter la productivité et pour mieux satisfaire le client. Le sujet retenu pour ce projet se veut être focalisé sur  « l’élément  QUALITE ». et  plus  précisément,  l’amélioration  des  indicateurs  qualité GMF et DPU à travers une étude et amélioration de fixation des barres de toit pour la voiture SANDERO STEPWAY,</a:t>
            </a:r>
          </a:p>
          <a:p>
            <a:endParaRPr lang="fr-FR" dirty="0"/>
          </a:p>
        </p:txBody>
      </p:sp>
      <p:sp>
        <p:nvSpPr>
          <p:cNvPr id="4" name="Slide Number Placeholder 3"/>
          <p:cNvSpPr>
            <a:spLocks noGrp="1"/>
          </p:cNvSpPr>
          <p:nvPr>
            <p:ph type="sldNum" sz="quarter" idx="5"/>
          </p:nvPr>
        </p:nvSpPr>
        <p:spPr/>
        <p:txBody>
          <a:bodyPr/>
          <a:lstStyle/>
          <a:p>
            <a:fld id="{9A7CF95C-D7B6-466B-9F98-C9300B3D459C}" type="slidenum">
              <a:rPr lang="fr-FR" smtClean="0"/>
              <a:t>5</a:t>
            </a:fld>
            <a:endParaRPr lang="fr-FR" dirty="0"/>
          </a:p>
        </p:txBody>
      </p:sp>
    </p:spTree>
    <p:extLst>
      <p:ext uri="{BB962C8B-B14F-4D97-AF65-F5344CB8AC3E}">
        <p14:creationId xmlns:p14="http://schemas.microsoft.com/office/powerpoint/2010/main" val="10541543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baseline="0" dirty="0"/>
              <a:t>Afin de mieux cerner le fond de notre projet, nous allons dans un premier lieu présenter l’environnement du projet :</a:t>
            </a:r>
          </a:p>
          <a:p>
            <a:r>
              <a:rPr lang="fr-FR" baseline="0" dirty="0"/>
              <a:t>Tout ce qui est organisme d’accueil</a:t>
            </a:r>
          </a:p>
          <a:p>
            <a:r>
              <a:rPr lang="fr-FR" baseline="0" dirty="0"/>
              <a:t>Sont processus de fabrication</a:t>
            </a:r>
          </a:p>
          <a:p>
            <a:r>
              <a:rPr lang="fr-FR" baseline="0"/>
              <a:t>Et l’organigramme de l ’entreprise</a:t>
            </a:r>
          </a:p>
          <a:p>
            <a:pPr eaLnBrk="1" hangingPunct="1">
              <a:spcBef>
                <a:spcPct val="0"/>
              </a:spcBef>
            </a:pPr>
            <a:endParaRPr lang="fr-FR" baseline="0" dirty="0"/>
          </a:p>
          <a:p>
            <a:r>
              <a:rPr lang="fr-FR" baseline="0" dirty="0"/>
              <a:t>dans un second lieu on présentera la problématique de notre projet, la méthodologie de résolution qui est DMAIC et la planification du projet.</a:t>
            </a:r>
          </a:p>
          <a:p>
            <a:endParaRPr lang="fr-FR" baseline="0" dirty="0"/>
          </a:p>
          <a:p>
            <a:r>
              <a:rPr lang="fr-FR" baseline="0" dirty="0"/>
              <a:t>troisièmement on passera à la mise en œuvre de notre projet en appliquant la démarche prédéfini DMAIC, càd: </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a:ln w="18415" cmpd="sng">
                  <a:noFill/>
                  <a:prstDash val="solid"/>
                </a:ln>
                <a:solidFill>
                  <a:schemeClr val="tx1"/>
                </a:solidFill>
                <a:effectLst/>
                <a:latin typeface="+mn-lt"/>
                <a:ea typeface="+mn-ea"/>
                <a:cs typeface="+mn-cs"/>
              </a:rPr>
              <a:t>Définir : la définition de </a:t>
            </a:r>
            <a:r>
              <a:rPr lang="fr-FR" sz="1200" kern="1200" dirty="0">
                <a:solidFill>
                  <a:schemeClr val="tx1"/>
                </a:solidFill>
                <a:effectLst/>
                <a:latin typeface="+mn-lt"/>
                <a:ea typeface="+mn-ea"/>
                <a:cs typeface="+mn-cs"/>
              </a:rPr>
              <a:t>toutes les composantes du projet afin de préciser l’amélioration souhaitée</a:t>
            </a:r>
          </a:p>
          <a:p>
            <a:pPr marL="0" marR="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mn-lt"/>
              <a:ea typeface="+mn-ea"/>
              <a:cs typeface="+mn-cs"/>
            </a:endParaRPr>
          </a:p>
          <a:p>
            <a:pPr eaLnBrk="1" hangingPunct="1">
              <a:spcBef>
                <a:spcPct val="0"/>
              </a:spcBef>
            </a:pPr>
            <a:r>
              <a:rPr lang="fr-FR" sz="1200" kern="1200" dirty="0">
                <a:solidFill>
                  <a:schemeClr val="tx1"/>
                </a:solidFill>
                <a:effectLst/>
                <a:latin typeface="+mn-lt"/>
                <a:ea typeface="+mn-ea"/>
                <a:cs typeface="+mn-cs"/>
              </a:rPr>
              <a:t>Mesurer : La mesure des indicateurs de non qualité afin de situer la performance actuelle du processus par rapport aux exigences client. </a:t>
            </a:r>
          </a:p>
          <a:p>
            <a:pPr eaLnBrk="1" hangingPunct="1">
              <a:spcBef>
                <a:spcPct val="0"/>
              </a:spcBef>
            </a:pPr>
            <a:endParaRPr lang="fr-FR"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a:solidFill>
                  <a:schemeClr val="tx1"/>
                </a:solidFill>
                <a:effectLst/>
                <a:latin typeface="+mn-lt"/>
                <a:ea typeface="+mn-ea"/>
                <a:cs typeface="+mn-cs"/>
              </a:rPr>
              <a:t>Analyser</a:t>
            </a:r>
            <a:r>
              <a:rPr lang="fr-FR" sz="1200" kern="1200" baseline="0" dirty="0">
                <a:solidFill>
                  <a:schemeClr val="tx1"/>
                </a:solidFill>
                <a:effectLst/>
                <a:latin typeface="+mn-lt"/>
                <a:ea typeface="+mn-ea"/>
                <a:cs typeface="+mn-cs"/>
              </a:rPr>
              <a:t> : </a:t>
            </a:r>
            <a:r>
              <a:rPr lang="fr-FR" sz="1200" kern="1200" dirty="0">
                <a:solidFill>
                  <a:schemeClr val="tx1"/>
                </a:solidFill>
                <a:effectLst/>
                <a:latin typeface="+mn-lt"/>
                <a:ea typeface="+mn-ea"/>
                <a:cs typeface="+mn-cs"/>
              </a:rPr>
              <a:t>L’analyse des données recueillies afin de ressortir les anomalies et déceler les causes racines qui sont à l’origine de non-qualité</a:t>
            </a:r>
          </a:p>
          <a:p>
            <a:pPr marL="0" marR="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a:solidFill>
                  <a:schemeClr val="tx1"/>
                </a:solidFill>
                <a:effectLst/>
                <a:latin typeface="+mn-lt"/>
                <a:ea typeface="+mn-ea"/>
                <a:cs typeface="+mn-cs"/>
              </a:rPr>
              <a:t>Améliorer : Une proposition des actions d’amélioration capables de résoudre et éliminer les causes racines détectées</a:t>
            </a:r>
          </a:p>
          <a:p>
            <a:pPr marL="0" marR="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a:solidFill>
                  <a:schemeClr val="tx1"/>
                </a:solidFill>
                <a:effectLst/>
                <a:latin typeface="+mn-lt"/>
                <a:ea typeface="+mn-ea"/>
                <a:cs typeface="+mn-cs"/>
              </a:rPr>
              <a:t>Contrôler : c’est </a:t>
            </a:r>
            <a:r>
              <a:rPr lang="fr-FR" sz="1200" kern="1200" baseline="0" dirty="0">
                <a:solidFill>
                  <a:schemeClr val="tx1"/>
                </a:solidFill>
                <a:effectLst/>
                <a:latin typeface="+mn-lt"/>
                <a:ea typeface="+mn-ea"/>
                <a:cs typeface="+mn-cs"/>
              </a:rPr>
              <a:t>la dernière étape qui consiste à </a:t>
            </a:r>
            <a:r>
              <a:rPr lang="fr-FR" sz="1200" kern="1200" dirty="0">
                <a:solidFill>
                  <a:schemeClr val="tx1"/>
                </a:solidFill>
                <a:effectLst/>
                <a:latin typeface="+mn-lt"/>
                <a:ea typeface="+mn-ea"/>
                <a:cs typeface="+mn-cs"/>
              </a:rPr>
              <a:t>mesurer l’efficacité des actions mises en place ,</a:t>
            </a:r>
          </a:p>
          <a:p>
            <a:pPr marL="0" marR="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mn-lt"/>
              <a:ea typeface="+mn-ea"/>
              <a:cs typeface="+mn-cs"/>
            </a:endParaRPr>
          </a:p>
          <a:p>
            <a:r>
              <a:rPr lang="fr-FR" dirty="0"/>
              <a:t>Et on clôturera le travail par un ensemble de perspectives</a:t>
            </a:r>
          </a:p>
          <a:p>
            <a:endParaRPr lang="fr-FR" dirty="0"/>
          </a:p>
        </p:txBody>
      </p:sp>
      <p:sp>
        <p:nvSpPr>
          <p:cNvPr id="4" name="Espace réservé du pied de page 3"/>
          <p:cNvSpPr>
            <a:spLocks noGrp="1"/>
          </p:cNvSpPr>
          <p:nvPr>
            <p:ph type="ftr" sz="quarter" idx="10"/>
          </p:nvPr>
        </p:nvSpPr>
        <p:spPr/>
        <p:txBody>
          <a:bodyPr/>
          <a:lstStyle/>
          <a:p>
            <a:endParaRPr lang="fr-FR" dirty="0"/>
          </a:p>
        </p:txBody>
      </p:sp>
      <p:sp>
        <p:nvSpPr>
          <p:cNvPr id="5" name="Espace réservé du numéro de diapositive 4"/>
          <p:cNvSpPr>
            <a:spLocks noGrp="1"/>
          </p:cNvSpPr>
          <p:nvPr>
            <p:ph type="sldNum" sz="quarter" idx="11"/>
          </p:nvPr>
        </p:nvSpPr>
        <p:spPr/>
        <p:txBody>
          <a:bodyPr/>
          <a:lstStyle/>
          <a:p>
            <a:fld id="{661CD003-E65F-44E7-804B-EA3D0158AF9A}" type="slidenum">
              <a:rPr lang="fr-FR" smtClean="0"/>
              <a:t>6</a:t>
            </a:fld>
            <a:endParaRPr lang="fr-FR" dirty="0"/>
          </a:p>
        </p:txBody>
      </p:sp>
    </p:spTree>
    <p:extLst>
      <p:ext uri="{BB962C8B-B14F-4D97-AF65-F5344CB8AC3E}">
        <p14:creationId xmlns:p14="http://schemas.microsoft.com/office/powerpoint/2010/main" val="28056595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Renaut</a:t>
            </a:r>
            <a:r>
              <a:rPr lang="fr-FR" baseline="0" dirty="0"/>
              <a:t> qui est un </a:t>
            </a:r>
            <a:r>
              <a:rPr lang="fr-FR" sz="1200" kern="1200" baseline="0" dirty="0">
                <a:solidFill>
                  <a:schemeClr val="tx1"/>
                </a:solidFill>
                <a:latin typeface="+mn-lt"/>
                <a:ea typeface="+mn-ea"/>
                <a:cs typeface="+mn-cs"/>
              </a:rPr>
              <a:t>groupe </a:t>
            </a:r>
            <a:r>
              <a:rPr lang="fr-FR" baseline="0" dirty="0"/>
              <a:t> français de construction automobile, crée en 1898, </a:t>
            </a:r>
            <a:r>
              <a:rPr lang="fr-FR" sz="1200" kern="1200" baseline="0" dirty="0">
                <a:solidFill>
                  <a:schemeClr val="tx1"/>
                </a:solidFill>
                <a:latin typeface="+mn-lt"/>
                <a:ea typeface="+mn-ea"/>
                <a:cs typeface="+mn-cs"/>
              </a:rPr>
              <a:t>Présent dans 125 pays, avec un chiffre d'affaires de 41 055 millions d’euros, il conçoit, fabrique et</a:t>
            </a:r>
          </a:p>
          <a:p>
            <a:r>
              <a:rPr lang="fr-FR" sz="1200" kern="1200" baseline="0" dirty="0">
                <a:solidFill>
                  <a:schemeClr val="tx1"/>
                </a:solidFill>
                <a:latin typeface="+mn-lt"/>
                <a:ea typeface="+mn-ea"/>
                <a:cs typeface="+mn-cs"/>
              </a:rPr>
              <a:t>commercialise des véhicules attractifs, sûrs et respectueux de l'environnement. Les marques fabriqué sont </a:t>
            </a:r>
            <a:r>
              <a:rPr lang="fr-FR" sz="1200" kern="1200" baseline="0" dirty="0" err="1">
                <a:solidFill>
                  <a:schemeClr val="tx1"/>
                </a:solidFill>
                <a:latin typeface="+mn-lt"/>
                <a:ea typeface="+mn-ea"/>
                <a:cs typeface="+mn-cs"/>
              </a:rPr>
              <a:t>dokker</a:t>
            </a:r>
            <a:r>
              <a:rPr lang="fr-FR" sz="1200" kern="1200" baseline="0" dirty="0">
                <a:solidFill>
                  <a:schemeClr val="tx1"/>
                </a:solidFill>
                <a:latin typeface="+mn-lt"/>
                <a:ea typeface="+mn-ea"/>
                <a:cs typeface="+mn-cs"/>
              </a:rPr>
              <a:t> ,</a:t>
            </a:r>
            <a:r>
              <a:rPr lang="fr-FR" sz="1200" kern="1200" baseline="0" dirty="0" err="1">
                <a:solidFill>
                  <a:schemeClr val="tx1"/>
                </a:solidFill>
                <a:latin typeface="+mn-lt"/>
                <a:ea typeface="+mn-ea"/>
                <a:cs typeface="+mn-cs"/>
              </a:rPr>
              <a:t>logan</a:t>
            </a:r>
            <a:r>
              <a:rPr lang="fr-FR" sz="1200" kern="1200" baseline="0" dirty="0">
                <a:solidFill>
                  <a:schemeClr val="tx1"/>
                </a:solidFill>
                <a:latin typeface="+mn-lt"/>
                <a:ea typeface="+mn-ea"/>
                <a:cs typeface="+mn-cs"/>
              </a:rPr>
              <a:t> ,</a:t>
            </a:r>
            <a:r>
              <a:rPr lang="fr-FR" sz="1200" kern="1200" baseline="0" dirty="0" err="1">
                <a:solidFill>
                  <a:schemeClr val="tx1"/>
                </a:solidFill>
                <a:latin typeface="+mn-lt"/>
                <a:ea typeface="+mn-ea"/>
                <a:cs typeface="+mn-cs"/>
              </a:rPr>
              <a:t>lodgy</a:t>
            </a:r>
            <a:r>
              <a:rPr lang="fr-FR" sz="1200" kern="1200" baseline="0" dirty="0">
                <a:solidFill>
                  <a:schemeClr val="tx1"/>
                </a:solidFill>
                <a:latin typeface="+mn-lt"/>
                <a:ea typeface="+mn-ea"/>
                <a:cs typeface="+mn-cs"/>
              </a:rPr>
              <a:t> et la voiture qu’est notre sujet d’étude la </a:t>
            </a:r>
            <a:r>
              <a:rPr lang="fr-FR" sz="1200" kern="1200" baseline="0" dirty="0" err="1">
                <a:solidFill>
                  <a:schemeClr val="tx1"/>
                </a:solidFill>
                <a:latin typeface="+mn-lt"/>
                <a:ea typeface="+mn-ea"/>
                <a:cs typeface="+mn-cs"/>
              </a:rPr>
              <a:t>Sandero</a:t>
            </a:r>
            <a:r>
              <a:rPr lang="fr-FR" sz="1200" kern="1200" baseline="0" dirty="0">
                <a:solidFill>
                  <a:schemeClr val="tx1"/>
                </a:solidFill>
                <a:latin typeface="+mn-lt"/>
                <a:ea typeface="+mn-ea"/>
                <a:cs typeface="+mn-cs"/>
              </a:rPr>
              <a:t> STEPWAY</a:t>
            </a:r>
          </a:p>
          <a:p>
            <a:pPr marL="0" marR="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mn-lt"/>
              <a:ea typeface="+mn-ea"/>
              <a:cs typeface="+mn-cs"/>
            </a:endParaRPr>
          </a:p>
        </p:txBody>
      </p:sp>
      <p:sp>
        <p:nvSpPr>
          <p:cNvPr id="4" name="Espace réservé du pied de page 3"/>
          <p:cNvSpPr>
            <a:spLocks noGrp="1"/>
          </p:cNvSpPr>
          <p:nvPr>
            <p:ph type="ftr" sz="quarter" idx="10"/>
          </p:nvPr>
        </p:nvSpPr>
        <p:spPr/>
        <p:txBody>
          <a:bodyPr/>
          <a:lstStyle/>
          <a:p>
            <a:endParaRPr lang="fr-FR" dirty="0"/>
          </a:p>
        </p:txBody>
      </p:sp>
      <p:sp>
        <p:nvSpPr>
          <p:cNvPr id="5" name="Espace réservé du numéro de diapositive 4"/>
          <p:cNvSpPr>
            <a:spLocks noGrp="1"/>
          </p:cNvSpPr>
          <p:nvPr>
            <p:ph type="sldNum" sz="quarter" idx="11"/>
          </p:nvPr>
        </p:nvSpPr>
        <p:spPr/>
        <p:txBody>
          <a:bodyPr/>
          <a:lstStyle/>
          <a:p>
            <a:fld id="{661CD003-E65F-44E7-804B-EA3D0158AF9A}" type="slidenum">
              <a:rPr lang="fr-FR" smtClean="0"/>
              <a:t>7</a:t>
            </a:fld>
            <a:endParaRPr lang="fr-FR" dirty="0"/>
          </a:p>
        </p:txBody>
      </p:sp>
    </p:spTree>
    <p:extLst>
      <p:ext uri="{BB962C8B-B14F-4D97-AF65-F5344CB8AC3E}">
        <p14:creationId xmlns:p14="http://schemas.microsoft.com/office/powerpoint/2010/main" val="13207685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emboutissage  représente le tout  début  du processus  de  fabrication  d’un véhicule et </a:t>
            </a:r>
          </a:p>
          <a:p>
            <a:r>
              <a:rPr lang="fr-FR" dirty="0"/>
              <a:t>consiste dans la transformation des matières premières réceptionnées sous forme des tôles </a:t>
            </a:r>
          </a:p>
          <a:p>
            <a:r>
              <a:rPr lang="fr-FR" dirty="0"/>
              <a:t>d’acier, en pièces de carrosserie . Pour qu’il soient assembler dans l’atelier tôlerie. </a:t>
            </a:r>
            <a:r>
              <a:rPr lang="fr-FR" sz="1200" kern="1200" dirty="0">
                <a:solidFill>
                  <a:schemeClr val="tx1"/>
                </a:solidFill>
                <a:effectLst/>
                <a:latin typeface="+mn-lt"/>
                <a:ea typeface="+mn-ea"/>
                <a:cs typeface="+mn-cs"/>
              </a:rPr>
              <a:t>L’atelier </a:t>
            </a:r>
            <a:r>
              <a:rPr lang="fr-FR" sz="1200" b="1" kern="1200" dirty="0">
                <a:solidFill>
                  <a:schemeClr val="tx1"/>
                </a:solidFill>
                <a:effectLst/>
                <a:latin typeface="+mn-lt"/>
                <a:ea typeface="+mn-ea"/>
                <a:cs typeface="+mn-cs"/>
              </a:rPr>
              <a:t>PEINTURE</a:t>
            </a:r>
            <a:r>
              <a:rPr lang="fr-FR" sz="1200" kern="1200" dirty="0">
                <a:solidFill>
                  <a:schemeClr val="tx1"/>
                </a:solidFill>
                <a:effectLst/>
                <a:latin typeface="+mn-lt"/>
                <a:ea typeface="+mn-ea"/>
                <a:cs typeface="+mn-cs"/>
              </a:rPr>
              <a:t>, réceptionne les caisses issu de la Tôlerie puis les faire passer à une série d’opération  et traitement de peinture avant  de  recevoir  sa  teinte définitive. Les caisses par la suite sont transférées à l’atelier </a:t>
            </a:r>
            <a:r>
              <a:rPr lang="fr-FR" sz="1200" b="1" kern="1200" dirty="0">
                <a:solidFill>
                  <a:schemeClr val="tx1"/>
                </a:solidFill>
                <a:effectLst/>
                <a:latin typeface="+mn-lt"/>
                <a:ea typeface="+mn-ea"/>
                <a:cs typeface="+mn-cs"/>
              </a:rPr>
              <a:t>MONTAGE afin d’assemblés et montés les éléments mécaniques, le poste de conduite, la miroiterie et l’habillage </a:t>
            </a:r>
          </a:p>
          <a:p>
            <a:r>
              <a:rPr lang="fr-FR" sz="1200" b="1" kern="1200" dirty="0">
                <a:solidFill>
                  <a:schemeClr val="tx1"/>
                </a:solidFill>
                <a:effectLst/>
                <a:latin typeface="+mn-lt"/>
                <a:ea typeface="+mn-ea"/>
                <a:cs typeface="+mn-cs"/>
              </a:rPr>
              <a:t>intérieur du véhicule (tapis, sièges…). Notre projet étais réalisé au sein de l’atelier Tôlerie donc ca serait évident de </a:t>
            </a:r>
            <a:r>
              <a:rPr lang="fr-FR" sz="1200" b="1" kern="1200" dirty="0" err="1">
                <a:solidFill>
                  <a:schemeClr val="tx1"/>
                </a:solidFill>
                <a:effectLst/>
                <a:latin typeface="+mn-lt"/>
                <a:ea typeface="+mn-ea"/>
                <a:cs typeface="+mn-cs"/>
              </a:rPr>
              <a:t>détailé</a:t>
            </a:r>
            <a:r>
              <a:rPr lang="fr-FR" sz="1200" b="1" kern="1200" dirty="0">
                <a:solidFill>
                  <a:schemeClr val="tx1"/>
                </a:solidFill>
                <a:effectLst/>
                <a:latin typeface="+mn-lt"/>
                <a:ea typeface="+mn-ea"/>
                <a:cs typeface="+mn-cs"/>
              </a:rPr>
              <a:t> le processus de fabrication de la Tôlerie</a:t>
            </a:r>
            <a:endParaRPr lang="fr-FR" dirty="0"/>
          </a:p>
        </p:txBody>
      </p:sp>
      <p:sp>
        <p:nvSpPr>
          <p:cNvPr id="4" name="Slide Number Placeholder 3"/>
          <p:cNvSpPr>
            <a:spLocks noGrp="1"/>
          </p:cNvSpPr>
          <p:nvPr>
            <p:ph type="sldNum" sz="quarter" idx="5"/>
          </p:nvPr>
        </p:nvSpPr>
        <p:spPr/>
        <p:txBody>
          <a:bodyPr/>
          <a:lstStyle/>
          <a:p>
            <a:fld id="{9A7CF95C-D7B6-466B-9F98-C9300B3D459C}" type="slidenum">
              <a:rPr lang="fr-FR" smtClean="0"/>
              <a:t>8</a:t>
            </a:fld>
            <a:endParaRPr lang="fr-FR" dirty="0"/>
          </a:p>
        </p:txBody>
      </p:sp>
    </p:spTree>
    <p:extLst>
      <p:ext uri="{BB962C8B-B14F-4D97-AF65-F5344CB8AC3E}">
        <p14:creationId xmlns:p14="http://schemas.microsoft.com/office/powerpoint/2010/main" val="3810157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Comme on a déjà dit l’atelier tôlerie assure l’assemblage de la caisse en commençant par le soubassement qui est constitué de 3 unité AV/CENTRAL/AR puis on ajoute les côtés de caisse dans les quelle on fixe les romaine de montage des barre de toit et les traverses, Puis on mets le pavillon et finalement le ferrage des ouvrants càd les portes le coffre et le capot </a:t>
            </a:r>
          </a:p>
        </p:txBody>
      </p:sp>
      <p:sp>
        <p:nvSpPr>
          <p:cNvPr id="4" name="Slide Number Placeholder 3"/>
          <p:cNvSpPr>
            <a:spLocks noGrp="1"/>
          </p:cNvSpPr>
          <p:nvPr>
            <p:ph type="sldNum" sz="quarter" idx="5"/>
          </p:nvPr>
        </p:nvSpPr>
        <p:spPr/>
        <p:txBody>
          <a:bodyPr/>
          <a:lstStyle/>
          <a:p>
            <a:fld id="{9A7CF95C-D7B6-466B-9F98-C9300B3D459C}" type="slidenum">
              <a:rPr lang="fr-FR" smtClean="0"/>
              <a:t>9</a:t>
            </a:fld>
            <a:endParaRPr lang="fr-FR" dirty="0"/>
          </a:p>
        </p:txBody>
      </p:sp>
    </p:spTree>
    <p:extLst>
      <p:ext uri="{BB962C8B-B14F-4D97-AF65-F5344CB8AC3E}">
        <p14:creationId xmlns:p14="http://schemas.microsoft.com/office/powerpoint/2010/main" val="18776673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200" b="0" i="0" kern="1200" dirty="0">
                <a:solidFill>
                  <a:schemeClr val="tx1"/>
                </a:solidFill>
                <a:effectLst/>
                <a:latin typeface="+mn-lt"/>
                <a:ea typeface="+mn-ea"/>
                <a:cs typeface="+mn-cs"/>
              </a:rPr>
              <a:t>Les barres de toit sont un accessoire automobile qui va se placer sur le toit , C’est ce qui va permettre de </a:t>
            </a:r>
            <a:r>
              <a:rPr lang="fr-FR" sz="1200" b="1" i="0" kern="1200" dirty="0">
                <a:solidFill>
                  <a:schemeClr val="tx1"/>
                </a:solidFill>
                <a:effectLst/>
                <a:latin typeface="+mn-lt"/>
                <a:ea typeface="+mn-ea"/>
                <a:cs typeface="+mn-cs"/>
              </a:rPr>
              <a:t>transporter des objets</a:t>
            </a:r>
            <a:r>
              <a:rPr lang="fr-FR" sz="1200" b="0" i="0" kern="1200" dirty="0">
                <a:solidFill>
                  <a:schemeClr val="tx1"/>
                </a:solidFill>
                <a:effectLst/>
                <a:latin typeface="+mn-lt"/>
                <a:ea typeface="+mn-ea"/>
                <a:cs typeface="+mn-cs"/>
              </a:rPr>
              <a:t> qui ne peuvent pas rentrer dans le coffre de la voiture ou la voiture en elle-même.</a:t>
            </a:r>
            <a:endParaRPr lang="fr-FR" dirty="0"/>
          </a:p>
          <a:p>
            <a:endParaRPr lang="fr-FR" dirty="0"/>
          </a:p>
          <a:p>
            <a:r>
              <a:rPr lang="fr-FR" dirty="0"/>
              <a:t>La fixation des barres de toit de la voiture SANDERO STEPWAY B 52 n’est pas en mesure de satisfaire, voire de répondre aux attentes clients. Car on lors de montage des barres de toit on remarque une mal fixation ou bien plaquage de cette </a:t>
            </a:r>
            <a:r>
              <a:rPr lang="fr-FR" dirty="0" err="1"/>
              <a:t>dernière,à</a:t>
            </a:r>
            <a:r>
              <a:rPr lang="fr-FR" dirty="0"/>
              <a:t> cause d’un décalage hors tolérance positive en  des romaines des barres de toit  </a:t>
            </a:r>
          </a:p>
        </p:txBody>
      </p:sp>
      <p:sp>
        <p:nvSpPr>
          <p:cNvPr id="4" name="Espace réservé du pied de page 3"/>
          <p:cNvSpPr>
            <a:spLocks noGrp="1"/>
          </p:cNvSpPr>
          <p:nvPr>
            <p:ph type="ftr" sz="quarter" idx="10"/>
          </p:nvPr>
        </p:nvSpPr>
        <p:spPr/>
        <p:txBody>
          <a:bodyPr/>
          <a:lstStyle/>
          <a:p>
            <a:endParaRPr lang="fr-FR"/>
          </a:p>
        </p:txBody>
      </p:sp>
      <p:sp>
        <p:nvSpPr>
          <p:cNvPr id="5" name="Espace réservé du numéro de diapositive 4"/>
          <p:cNvSpPr>
            <a:spLocks noGrp="1"/>
          </p:cNvSpPr>
          <p:nvPr>
            <p:ph type="sldNum" sz="quarter" idx="11"/>
          </p:nvPr>
        </p:nvSpPr>
        <p:spPr/>
        <p:txBody>
          <a:bodyPr/>
          <a:lstStyle/>
          <a:p>
            <a:fld id="{661CD003-E65F-44E7-804B-EA3D0158AF9A}" type="slidenum">
              <a:rPr lang="fr-FR" smtClean="0"/>
              <a:t>10</a:t>
            </a:fld>
            <a:endParaRPr lang="fr-FR"/>
          </a:p>
        </p:txBody>
      </p:sp>
    </p:spTree>
    <p:extLst>
      <p:ext uri="{BB962C8B-B14F-4D97-AF65-F5344CB8AC3E}">
        <p14:creationId xmlns:p14="http://schemas.microsoft.com/office/powerpoint/2010/main" val="25752281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kern="1200" dirty="0">
                <a:solidFill>
                  <a:schemeClr val="tx1"/>
                </a:solidFill>
                <a:effectLst/>
                <a:latin typeface="+mn-lt"/>
                <a:ea typeface="+mn-ea"/>
                <a:cs typeface="+mn-cs"/>
              </a:rPr>
              <a:t>La réussite de tout projet est conditionnée par le bon choix de la méthode adoptée. Donc afin de structurer notre travail ,nous avons  adopté la</a:t>
            </a:r>
            <a:r>
              <a:rPr lang="fr-FR" sz="1200" kern="1200" baseline="0" dirty="0">
                <a:solidFill>
                  <a:schemeClr val="tx1"/>
                </a:solidFill>
                <a:effectLst/>
                <a:latin typeface="+mn-lt"/>
                <a:ea typeface="+mn-ea"/>
                <a:cs typeface="+mn-cs"/>
              </a:rPr>
              <a:t> </a:t>
            </a:r>
            <a:r>
              <a:rPr lang="fr-FR" sz="1200" kern="1200" baseline="0" dirty="0" err="1">
                <a:solidFill>
                  <a:schemeClr val="tx1"/>
                </a:solidFill>
                <a:effectLst/>
                <a:latin typeface="+mn-lt"/>
                <a:ea typeface="+mn-ea"/>
                <a:cs typeface="+mn-cs"/>
              </a:rPr>
              <a:t>demarche</a:t>
            </a:r>
            <a:r>
              <a:rPr lang="fr-FR" sz="1200" kern="1200" baseline="0" dirty="0">
                <a:solidFill>
                  <a:schemeClr val="tx1"/>
                </a:solidFill>
                <a:effectLst/>
                <a:latin typeface="+mn-lt"/>
                <a:ea typeface="+mn-ea"/>
                <a:cs typeface="+mn-cs"/>
              </a:rPr>
              <a:t>  de SIX SIGMA la DMAIC, qui se </a:t>
            </a:r>
            <a:r>
              <a:rPr lang="fr-FR" sz="1200" kern="1200" baseline="0" dirty="0" err="1">
                <a:solidFill>
                  <a:schemeClr val="tx1"/>
                </a:solidFill>
                <a:effectLst/>
                <a:latin typeface="+mn-lt"/>
                <a:ea typeface="+mn-ea"/>
                <a:cs typeface="+mn-cs"/>
              </a:rPr>
              <a:t>resume</a:t>
            </a:r>
            <a:r>
              <a:rPr lang="fr-FR" sz="1200" kern="1200" baseline="0" dirty="0">
                <a:solidFill>
                  <a:schemeClr val="tx1"/>
                </a:solidFill>
                <a:effectLst/>
                <a:latin typeface="+mn-lt"/>
                <a:ea typeface="+mn-ea"/>
                <a:cs typeface="+mn-cs"/>
              </a:rPr>
              <a:t> </a:t>
            </a:r>
            <a:r>
              <a:rPr lang="fr-FR" sz="1200" kern="1200" dirty="0">
                <a:solidFill>
                  <a:schemeClr val="tx1"/>
                </a:solidFill>
                <a:effectLst/>
                <a:latin typeface="+mn-lt"/>
                <a:ea typeface="+mn-ea"/>
                <a:cs typeface="+mn-cs"/>
              </a:rPr>
              <a:t>5 étapes .</a:t>
            </a:r>
          </a:p>
          <a:p>
            <a:endParaRPr lang="fr-FR" dirty="0"/>
          </a:p>
        </p:txBody>
      </p:sp>
      <p:sp>
        <p:nvSpPr>
          <p:cNvPr id="4" name="Espace réservé du pied de page 3"/>
          <p:cNvSpPr>
            <a:spLocks noGrp="1"/>
          </p:cNvSpPr>
          <p:nvPr>
            <p:ph type="ftr" sz="quarter" idx="10"/>
          </p:nvPr>
        </p:nvSpPr>
        <p:spPr/>
        <p:txBody>
          <a:bodyPr/>
          <a:lstStyle/>
          <a:p>
            <a:endParaRPr lang="fr-FR"/>
          </a:p>
        </p:txBody>
      </p:sp>
      <p:sp>
        <p:nvSpPr>
          <p:cNvPr id="5" name="Espace réservé du numéro de diapositive 4"/>
          <p:cNvSpPr>
            <a:spLocks noGrp="1"/>
          </p:cNvSpPr>
          <p:nvPr>
            <p:ph type="sldNum" sz="quarter" idx="11"/>
          </p:nvPr>
        </p:nvSpPr>
        <p:spPr/>
        <p:txBody>
          <a:bodyPr/>
          <a:lstStyle/>
          <a:p>
            <a:fld id="{661CD003-E65F-44E7-804B-EA3D0158AF9A}" type="slidenum">
              <a:rPr lang="fr-FR" smtClean="0"/>
              <a:t>11</a:t>
            </a:fld>
            <a:endParaRPr lang="fr-FR"/>
          </a:p>
        </p:txBody>
      </p:sp>
    </p:spTree>
    <p:extLst>
      <p:ext uri="{BB962C8B-B14F-4D97-AF65-F5344CB8AC3E}">
        <p14:creationId xmlns:p14="http://schemas.microsoft.com/office/powerpoint/2010/main" val="2533229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dirty="0">
                <a:latin typeface="Times New Roman" pitchFamily="18" charset="0"/>
              </a:rPr>
              <a:t>Pour le suivi et le bon déroulement de notre stage, nous avons appliqué une démarche de gestion de projet, à savoir la planification du projet</a:t>
            </a:r>
            <a:endParaRPr lang="en-US" dirty="0">
              <a:latin typeface="Times New Roman" pitchFamily="18" charset="0"/>
            </a:endParaRPr>
          </a:p>
          <a:p>
            <a:r>
              <a:rPr lang="fr-FR" dirty="0"/>
              <a:t>Donc voilà le planning qui représente les tâches</a:t>
            </a:r>
            <a:r>
              <a:rPr lang="fr-FR" baseline="0" dirty="0"/>
              <a:t> réelles de notre projet</a:t>
            </a:r>
          </a:p>
          <a:p>
            <a:endParaRPr lang="fr-FR" dirty="0"/>
          </a:p>
        </p:txBody>
      </p:sp>
      <p:sp>
        <p:nvSpPr>
          <p:cNvPr id="4" name="Espace réservé du pied de page 3"/>
          <p:cNvSpPr>
            <a:spLocks noGrp="1"/>
          </p:cNvSpPr>
          <p:nvPr>
            <p:ph type="ftr" sz="quarter" idx="10"/>
          </p:nvPr>
        </p:nvSpPr>
        <p:spPr/>
        <p:txBody>
          <a:bodyPr/>
          <a:lstStyle/>
          <a:p>
            <a:endParaRPr lang="fr-FR"/>
          </a:p>
        </p:txBody>
      </p:sp>
      <p:sp>
        <p:nvSpPr>
          <p:cNvPr id="5" name="Espace réservé du numéro de diapositive 4"/>
          <p:cNvSpPr>
            <a:spLocks noGrp="1"/>
          </p:cNvSpPr>
          <p:nvPr>
            <p:ph type="sldNum" sz="quarter" idx="11"/>
          </p:nvPr>
        </p:nvSpPr>
        <p:spPr/>
        <p:txBody>
          <a:bodyPr/>
          <a:lstStyle/>
          <a:p>
            <a:fld id="{661CD003-E65F-44E7-804B-EA3D0158AF9A}" type="slidenum">
              <a:rPr lang="fr-FR" smtClean="0"/>
              <a:t>12</a:t>
            </a:fld>
            <a:endParaRPr lang="fr-FR"/>
          </a:p>
        </p:txBody>
      </p:sp>
    </p:spTree>
    <p:extLst>
      <p:ext uri="{BB962C8B-B14F-4D97-AF65-F5344CB8AC3E}">
        <p14:creationId xmlns:p14="http://schemas.microsoft.com/office/powerpoint/2010/main" val="21786352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5.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bwMode="gray">
      <p:bgPr>
        <a:solidFill>
          <a:schemeClr val="tx2"/>
        </a:solidFill>
        <a:effectLst/>
      </p:bgPr>
    </p:bg>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9" y="4169584"/>
            <a:ext cx="11235265" cy="768000"/>
          </a:xfrm>
        </p:spPr>
        <p:txBody>
          <a:bodyPr/>
          <a:lstStyle>
            <a:lvl1pPr marL="0" indent="0" algn="ctr">
              <a:buNone/>
              <a:defRPr sz="20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a:xfrm>
            <a:off x="-4911" y="5587767"/>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8" name="Espace réservé du texte 7"/>
          <p:cNvSpPr>
            <a:spLocks noGrp="1"/>
          </p:cNvSpPr>
          <p:nvPr>
            <p:ph type="body" sz="quarter" idx="13" hasCustomPrompt="1"/>
          </p:nvPr>
        </p:nvSpPr>
        <p:spPr>
          <a:xfrm>
            <a:off x="479999" y="537599"/>
            <a:ext cx="11236800" cy="3384000"/>
          </a:xfrm>
        </p:spPr>
        <p:txBody>
          <a:bodyPr anchor="b" anchorCtr="0"/>
          <a:lstStyle>
            <a:lvl1pPr marL="0" indent="0">
              <a:lnSpc>
                <a:spcPct val="95000"/>
              </a:lnSpc>
              <a:buFont typeface="Arial" panose="020B0604020202020204" pitchFamily="34" charset="0"/>
              <a:buNone/>
              <a:defRPr sz="4000">
                <a:solidFill>
                  <a:schemeClr val="bg1"/>
                </a:solidFill>
              </a:defRPr>
            </a:lvl1pPr>
            <a:lvl2pPr marL="0" indent="0">
              <a:lnSpc>
                <a:spcPct val="95000"/>
              </a:lnSpc>
              <a:buNone/>
              <a:defRPr sz="3333">
                <a:solidFill>
                  <a:schemeClr val="bg1"/>
                </a:solidFill>
              </a:defRPr>
            </a:lvl2pPr>
          </a:lstStyle>
          <a:p>
            <a:pPr lvl="0"/>
            <a:r>
              <a:rPr lang="en-US" noProof="0" dirty="0"/>
              <a:t>Title</a:t>
            </a:r>
          </a:p>
          <a:p>
            <a:pPr lvl="1"/>
            <a:r>
              <a:rPr lang="en-US" noProof="0" dirty="0"/>
              <a:t>Subtitle</a:t>
            </a:r>
          </a:p>
        </p:txBody>
      </p:sp>
      <p:pic>
        <p:nvPicPr>
          <p:cNvPr id="10" name="Image 9"/>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4820688" y="5847473"/>
            <a:ext cx="2668390" cy="386524"/>
          </a:xfrm>
          <a:prstGeom prst="rect">
            <a:avLst/>
          </a:prstGeom>
        </p:spPr>
      </p:pic>
    </p:spTree>
    <p:extLst>
      <p:ext uri="{BB962C8B-B14F-4D97-AF65-F5344CB8AC3E}">
        <p14:creationId xmlns:p14="http://schemas.microsoft.com/office/powerpoint/2010/main" val="30214557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P166C">
    <p:spTree>
      <p:nvGrpSpPr>
        <p:cNvPr id="1" name=""/>
        <p:cNvGrpSpPr/>
        <p:nvPr/>
      </p:nvGrpSpPr>
      <p:grpSpPr>
        <a:xfrm>
          <a:off x="0" y="0"/>
          <a:ext cx="0" cy="0"/>
          <a:chOff x="0" y="0"/>
          <a:chExt cx="0" cy="0"/>
        </a:xfrm>
      </p:grpSpPr>
      <p:sp>
        <p:nvSpPr>
          <p:cNvPr id="12" name="Rectangle 11"/>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11" name="Image 10"/>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9378601" y="6225125"/>
            <a:ext cx="2520000" cy="365028"/>
          </a:xfrm>
          <a:prstGeom prst="rect">
            <a:avLst/>
          </a:prstGeom>
        </p:spPr>
      </p:pic>
    </p:spTree>
    <p:extLst>
      <p:ext uri="{BB962C8B-B14F-4D97-AF65-F5344CB8AC3E}">
        <p14:creationId xmlns:p14="http://schemas.microsoft.com/office/powerpoint/2010/main" val="32267598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 P63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12" name="Image 11"/>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9378601" y="6225125"/>
            <a:ext cx="2520000" cy="365028"/>
          </a:xfrm>
          <a:prstGeom prst="rect">
            <a:avLst/>
          </a:prstGeom>
        </p:spPr>
      </p:pic>
    </p:spTree>
    <p:extLst>
      <p:ext uri="{BB962C8B-B14F-4D97-AF65-F5344CB8AC3E}">
        <p14:creationId xmlns:p14="http://schemas.microsoft.com/office/powerpoint/2010/main" val="17494862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 P54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5F82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12" name="Image 11"/>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9378601" y="6225125"/>
            <a:ext cx="2520000" cy="365028"/>
          </a:xfrm>
          <a:prstGeom prst="rect">
            <a:avLst/>
          </a:prstGeom>
        </p:spPr>
      </p:pic>
    </p:spTree>
    <p:extLst>
      <p:ext uri="{BB962C8B-B14F-4D97-AF65-F5344CB8AC3E}">
        <p14:creationId xmlns:p14="http://schemas.microsoft.com/office/powerpoint/2010/main" val="4416421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hapter P38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DCD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12" name="Image 11"/>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9378601" y="6225125"/>
            <a:ext cx="2520000" cy="365028"/>
          </a:xfrm>
          <a:prstGeom prst="rect">
            <a:avLst/>
          </a:prstGeom>
        </p:spPr>
      </p:pic>
    </p:spTree>
    <p:extLst>
      <p:ext uri="{BB962C8B-B14F-4D97-AF65-F5344CB8AC3E}">
        <p14:creationId xmlns:p14="http://schemas.microsoft.com/office/powerpoint/2010/main" val="36354396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hapter P7506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FFC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12" name="Image 11"/>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9378601" y="6225125"/>
            <a:ext cx="2520000" cy="365028"/>
          </a:xfrm>
          <a:prstGeom prst="rect">
            <a:avLst/>
          </a:prstGeom>
        </p:spPr>
      </p:pic>
    </p:spTree>
    <p:extLst>
      <p:ext uri="{BB962C8B-B14F-4D97-AF65-F5344CB8AC3E}">
        <p14:creationId xmlns:p14="http://schemas.microsoft.com/office/powerpoint/2010/main" val="24707603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hapter P7670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12" name="Image 11"/>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9378601" y="6225125"/>
            <a:ext cx="2520000" cy="365028"/>
          </a:xfrm>
          <a:prstGeom prst="rect">
            <a:avLst/>
          </a:prstGeom>
        </p:spPr>
      </p:pic>
    </p:spTree>
    <p:extLst>
      <p:ext uri="{BB962C8B-B14F-4D97-AF65-F5344CB8AC3E}">
        <p14:creationId xmlns:p14="http://schemas.microsoft.com/office/powerpoint/2010/main" val="14430369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hapter P1787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E63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12" name="Image 11"/>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9378601" y="6225125"/>
            <a:ext cx="2520000" cy="365028"/>
          </a:xfrm>
          <a:prstGeom prst="rect">
            <a:avLst/>
          </a:prstGeom>
        </p:spPr>
      </p:pic>
    </p:spTree>
    <p:extLst>
      <p:ext uri="{BB962C8B-B14F-4D97-AF65-F5344CB8AC3E}">
        <p14:creationId xmlns:p14="http://schemas.microsoft.com/office/powerpoint/2010/main" val="7109647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hapter P527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12" name="Image 11"/>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9378601" y="6225125"/>
            <a:ext cx="2520000" cy="365028"/>
          </a:xfrm>
          <a:prstGeom prst="rect">
            <a:avLst/>
          </a:prstGeom>
        </p:spPr>
      </p:pic>
    </p:spTree>
    <p:extLst>
      <p:ext uri="{BB962C8B-B14F-4D97-AF65-F5344CB8AC3E}">
        <p14:creationId xmlns:p14="http://schemas.microsoft.com/office/powerpoint/2010/main" val="10441425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hapter P214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12" name="Image 11"/>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9378601" y="6225125"/>
            <a:ext cx="2520000" cy="365028"/>
          </a:xfrm>
          <a:prstGeom prst="rect">
            <a:avLst/>
          </a:prstGeom>
        </p:spPr>
      </p:pic>
    </p:spTree>
    <p:extLst>
      <p:ext uri="{BB962C8B-B14F-4D97-AF65-F5344CB8AC3E}">
        <p14:creationId xmlns:p14="http://schemas.microsoft.com/office/powerpoint/2010/main" val="32817222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lgn="l">
              <a:defRPr>
                <a:solidFill>
                  <a:schemeClr val="accent5"/>
                </a:solidFill>
              </a:defRPr>
            </a:lvl1pPr>
          </a:lstStyle>
          <a:p>
            <a:r>
              <a:rPr lang="en-US" noProof="0" dirty="0"/>
              <a:t>Title</a:t>
            </a:r>
          </a:p>
        </p:txBody>
      </p:sp>
      <p:sp>
        <p:nvSpPr>
          <p:cNvPr id="3" name="Espace réservé du contenu 2"/>
          <p:cNvSpPr>
            <a:spLocks noGrp="1"/>
          </p:cNvSpPr>
          <p:nvPr>
            <p:ph idx="1" hasCustomPrompt="1"/>
          </p:nvPr>
        </p:nvSpPr>
        <p:spPr bwMode="gray"/>
        <p:txBody>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7" name="Espace réservé de la date 6"/>
          <p:cNvSpPr>
            <a:spLocks noGrp="1"/>
          </p:cNvSpPr>
          <p:nvPr>
            <p:ph type="dt" sz="half" idx="10"/>
          </p:nvPr>
        </p:nvSpPr>
        <p:spPr bwMode="gray">
          <a:xfrm>
            <a:off x="-4911" y="5587767"/>
            <a:ext cx="478368" cy="452968"/>
          </a:xfrm>
          <a:prstGeom prst="rect">
            <a:avLst/>
          </a:prstGeom>
        </p:spPr>
        <p:txBody>
          <a:bodyPr/>
          <a:lstStyle/>
          <a:p>
            <a:r>
              <a:rPr lang="fr-FR">
                <a:solidFill>
                  <a:prstClr val="black"/>
                </a:solidFill>
              </a:rPr>
              <a:t>Date</a:t>
            </a:r>
            <a:endParaRPr lang="en-US" dirty="0">
              <a:solidFill>
                <a:prstClr val="black"/>
              </a:solidFill>
            </a:endParaRPr>
          </a:p>
        </p:txBody>
      </p:sp>
      <p:sp>
        <p:nvSpPr>
          <p:cNvPr id="8" name="Espace réservé du pied de page 7"/>
          <p:cNvSpPr>
            <a:spLocks noGrp="1"/>
          </p:cNvSpPr>
          <p:nvPr>
            <p:ph type="ftr" sz="quarter" idx="11"/>
          </p:nvPr>
        </p:nvSpPr>
        <p:spPr bwMode="gray">
          <a:xfrm>
            <a:off x="680561" y="5252027"/>
            <a:ext cx="9120000" cy="335740"/>
          </a:xfrm>
          <a:prstGeom prst="rect">
            <a:avLst/>
          </a:prstGeom>
        </p:spPr>
        <p:txBody>
          <a:bodyPr/>
          <a:lstStyle/>
          <a:p>
            <a:r>
              <a:rPr lang="en-US">
                <a:solidFill>
                  <a:prstClr val="black"/>
                </a:solidFill>
              </a:rPr>
              <a:t>Presentation title</a:t>
            </a:r>
            <a:endParaRPr lang="en-US" dirty="0">
              <a:solidFill>
                <a:prstClr val="black"/>
              </a:solidFill>
            </a:endParaRPr>
          </a:p>
        </p:txBody>
      </p:sp>
      <p:sp>
        <p:nvSpPr>
          <p:cNvPr id="9" name="Espace réservé du numéro de diapositive 8"/>
          <p:cNvSpPr>
            <a:spLocks noGrp="1"/>
          </p:cNvSpPr>
          <p:nvPr>
            <p:ph type="sldNum" sz="quarter" idx="12"/>
          </p:nvPr>
        </p:nvSpPr>
        <p:spPr bwMode="gray">
          <a:xfrm>
            <a:off x="-677" y="5252027"/>
            <a:ext cx="576080" cy="335740"/>
          </a:xfrm>
          <a:prstGeom prst="rect">
            <a:avLst/>
          </a:prstGeom>
        </p:spPr>
        <p:txBody>
          <a:bodyPr/>
          <a:lstStyle/>
          <a:p>
            <a:fld id="{733122C9-A0B9-462F-8757-0847AD287B63}" type="slidenum">
              <a:rPr lang="en-US">
                <a:solidFill>
                  <a:prstClr val="black"/>
                </a:solidFill>
              </a:rPr>
              <a:pPr/>
              <a:t>‹N°›</a:t>
            </a:fld>
            <a:endParaRPr lang="en-US" dirty="0">
              <a:solidFill>
                <a:prstClr val="black"/>
              </a:solidFill>
            </a:endParaRPr>
          </a:p>
        </p:txBody>
      </p:sp>
    </p:spTree>
    <p:extLst>
      <p:ext uri="{BB962C8B-B14F-4D97-AF65-F5344CB8AC3E}">
        <p14:creationId xmlns:p14="http://schemas.microsoft.com/office/powerpoint/2010/main" val="28236684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FD0F4-4687-4E74-B3B8-E015DB40CA53}"/>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871455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text 3 column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solidFill>
                  <a:schemeClr val="accent5"/>
                </a:solidFill>
              </a:defRPr>
            </a:lvl1pPr>
          </a:lstStyle>
          <a:p>
            <a:r>
              <a:rPr lang="en-US" noProof="0" dirty="0"/>
              <a:t>Title</a:t>
            </a:r>
          </a:p>
        </p:txBody>
      </p:sp>
      <p:sp>
        <p:nvSpPr>
          <p:cNvPr id="7" name="Espace réservé de la date 6"/>
          <p:cNvSpPr>
            <a:spLocks noGrp="1"/>
          </p:cNvSpPr>
          <p:nvPr>
            <p:ph type="dt" sz="half" idx="10"/>
          </p:nvPr>
        </p:nvSpPr>
        <p:spPr bwMode="gray">
          <a:xfrm>
            <a:off x="-4911" y="5587767"/>
            <a:ext cx="478368" cy="452968"/>
          </a:xfrm>
          <a:prstGeom prst="rect">
            <a:avLst/>
          </a:prstGeom>
        </p:spPr>
        <p:txBody>
          <a:bodyPr/>
          <a:lstStyle/>
          <a:p>
            <a:r>
              <a:rPr lang="fr-FR">
                <a:solidFill>
                  <a:prstClr val="black"/>
                </a:solidFill>
              </a:rPr>
              <a:t>Date</a:t>
            </a:r>
            <a:endParaRPr lang="en-US" dirty="0">
              <a:solidFill>
                <a:prstClr val="black"/>
              </a:solidFill>
            </a:endParaRPr>
          </a:p>
        </p:txBody>
      </p:sp>
      <p:sp>
        <p:nvSpPr>
          <p:cNvPr id="8" name="Espace réservé du pied de page 7"/>
          <p:cNvSpPr>
            <a:spLocks noGrp="1"/>
          </p:cNvSpPr>
          <p:nvPr>
            <p:ph type="ftr" sz="quarter" idx="11"/>
          </p:nvPr>
        </p:nvSpPr>
        <p:spPr bwMode="gray">
          <a:xfrm>
            <a:off x="680561" y="5252027"/>
            <a:ext cx="9120000" cy="335740"/>
          </a:xfrm>
          <a:prstGeom prst="rect">
            <a:avLst/>
          </a:prstGeom>
        </p:spPr>
        <p:txBody>
          <a:bodyPr/>
          <a:lstStyle/>
          <a:p>
            <a:r>
              <a:rPr lang="en-US">
                <a:solidFill>
                  <a:prstClr val="black"/>
                </a:solidFill>
              </a:rPr>
              <a:t>Presentation title</a:t>
            </a:r>
            <a:endParaRPr lang="en-US" dirty="0">
              <a:solidFill>
                <a:prstClr val="black"/>
              </a:solidFill>
            </a:endParaRPr>
          </a:p>
        </p:txBody>
      </p:sp>
      <p:sp>
        <p:nvSpPr>
          <p:cNvPr id="9" name="Espace réservé du numéro de diapositive 8"/>
          <p:cNvSpPr>
            <a:spLocks noGrp="1"/>
          </p:cNvSpPr>
          <p:nvPr>
            <p:ph type="sldNum" sz="quarter" idx="12"/>
          </p:nvPr>
        </p:nvSpPr>
        <p:spPr bwMode="gray">
          <a:xfrm>
            <a:off x="-677" y="5252027"/>
            <a:ext cx="576080" cy="335740"/>
          </a:xfrm>
          <a:prstGeom prst="rect">
            <a:avLst/>
          </a:prstGeom>
        </p:spPr>
        <p:txBody>
          <a:bodyPr/>
          <a:lstStyle/>
          <a:p>
            <a:fld id="{733122C9-A0B9-462F-8757-0847AD287B63}" type="slidenum">
              <a:rPr lang="en-US">
                <a:solidFill>
                  <a:prstClr val="black"/>
                </a:solidFill>
              </a:rPr>
              <a:pPr/>
              <a:t>‹N°›</a:t>
            </a:fld>
            <a:endParaRPr lang="en-US" dirty="0">
              <a:solidFill>
                <a:prstClr val="black"/>
              </a:solidFill>
            </a:endParaRPr>
          </a:p>
        </p:txBody>
      </p:sp>
      <p:sp>
        <p:nvSpPr>
          <p:cNvPr id="6" name="Espace réservé du texte 5"/>
          <p:cNvSpPr>
            <a:spLocks noGrp="1"/>
          </p:cNvSpPr>
          <p:nvPr>
            <p:ph type="body" sz="quarter" idx="13" hasCustomPrompt="1"/>
          </p:nvPr>
        </p:nvSpPr>
        <p:spPr bwMode="gray">
          <a:xfrm>
            <a:off x="478367"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0" name="Espace réservé du texte 5"/>
          <p:cNvSpPr>
            <a:spLocks noGrp="1"/>
          </p:cNvSpPr>
          <p:nvPr>
            <p:ph type="body" sz="quarter" idx="14" hasCustomPrompt="1"/>
          </p:nvPr>
        </p:nvSpPr>
        <p:spPr bwMode="gray">
          <a:xfrm>
            <a:off x="4295296"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1" name="Espace réservé du texte 5"/>
          <p:cNvSpPr>
            <a:spLocks noGrp="1"/>
          </p:cNvSpPr>
          <p:nvPr>
            <p:ph type="body" sz="quarter" idx="15" hasCustomPrompt="1"/>
          </p:nvPr>
        </p:nvSpPr>
        <p:spPr bwMode="gray">
          <a:xfrm>
            <a:off x="8112225" y="2468034"/>
            <a:ext cx="3601409"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Tree>
    <p:extLst>
      <p:ext uri="{BB962C8B-B14F-4D97-AF65-F5344CB8AC3E}">
        <p14:creationId xmlns:p14="http://schemas.microsoft.com/office/powerpoint/2010/main" val="18983474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itre et contenu">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335361" y="2084917"/>
            <a:ext cx="2400300" cy="3793067"/>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8" name="Espace réservé pour une image  7"/>
          <p:cNvSpPr>
            <a:spLocks noGrp="1"/>
          </p:cNvSpPr>
          <p:nvPr>
            <p:ph type="pic" sz="quarter" idx="14" hasCustomPrompt="1"/>
          </p:nvPr>
        </p:nvSpPr>
        <p:spPr bwMode="gray">
          <a:xfrm>
            <a:off x="2881711" y="0"/>
            <a:ext cx="2302933" cy="3504000"/>
          </a:xfrm>
          <a:solidFill>
            <a:srgbClr val="EAEAEA"/>
          </a:solidFill>
        </p:spPr>
        <p:txBody>
          <a:bodyPr tIns="612000" anchor="ctr" anchorCtr="0"/>
          <a:lstStyle>
            <a:lvl1pPr>
              <a:defRPr sz="1333"/>
            </a:lvl1pPr>
          </a:lstStyle>
          <a:p>
            <a:r>
              <a:rPr lang="en-US" noProof="0" dirty="0"/>
              <a:t>Select the icon to insert a picture</a:t>
            </a:r>
          </a:p>
        </p:txBody>
      </p:sp>
      <p:sp>
        <p:nvSpPr>
          <p:cNvPr id="14" name="Espace réservé pour une image  7"/>
          <p:cNvSpPr>
            <a:spLocks noGrp="1"/>
          </p:cNvSpPr>
          <p:nvPr>
            <p:ph type="pic" sz="quarter" idx="15" hasCustomPrompt="1"/>
          </p:nvPr>
        </p:nvSpPr>
        <p:spPr bwMode="gray">
          <a:xfrm>
            <a:off x="2881711" y="3786000"/>
            <a:ext cx="2304000" cy="3072000"/>
          </a:xfrm>
          <a:solidFill>
            <a:srgbClr val="EAEAEA"/>
          </a:solidFill>
        </p:spPr>
        <p:txBody>
          <a:bodyPr tIns="612000" anchor="ctr" anchorCtr="0"/>
          <a:lstStyle>
            <a:lvl1pPr>
              <a:defRPr sz="1333"/>
            </a:lvl1pPr>
          </a:lstStyle>
          <a:p>
            <a:r>
              <a:rPr lang="en-US" noProof="0" dirty="0"/>
              <a:t>Select the icon to insert a picture</a:t>
            </a:r>
          </a:p>
        </p:txBody>
      </p:sp>
      <p:sp>
        <p:nvSpPr>
          <p:cNvPr id="15" name="Espace réservé pour une image  7"/>
          <p:cNvSpPr>
            <a:spLocks noGrp="1"/>
          </p:cNvSpPr>
          <p:nvPr>
            <p:ph type="pic" sz="quarter" idx="16" hasCustomPrompt="1"/>
          </p:nvPr>
        </p:nvSpPr>
        <p:spPr bwMode="gray">
          <a:xfrm>
            <a:off x="5327915" y="0"/>
            <a:ext cx="2302933" cy="2832000"/>
          </a:xfrm>
          <a:solidFill>
            <a:srgbClr val="EAEAEA"/>
          </a:solidFill>
        </p:spPr>
        <p:txBody>
          <a:bodyPr tIns="612000" anchor="ctr" anchorCtr="0"/>
          <a:lstStyle>
            <a:lvl1pPr>
              <a:defRPr sz="1333"/>
            </a:lvl1pPr>
          </a:lstStyle>
          <a:p>
            <a:r>
              <a:rPr lang="en-US" noProof="0" dirty="0"/>
              <a:t>Select the icon to insert a picture</a:t>
            </a:r>
          </a:p>
        </p:txBody>
      </p:sp>
      <p:sp>
        <p:nvSpPr>
          <p:cNvPr id="16" name="Espace réservé pour une image  7"/>
          <p:cNvSpPr>
            <a:spLocks noGrp="1"/>
          </p:cNvSpPr>
          <p:nvPr>
            <p:ph type="pic" sz="quarter" idx="17" hasCustomPrompt="1"/>
          </p:nvPr>
        </p:nvSpPr>
        <p:spPr bwMode="gray">
          <a:xfrm>
            <a:off x="5327915" y="3114000"/>
            <a:ext cx="2304000" cy="3744000"/>
          </a:xfrm>
          <a:solidFill>
            <a:srgbClr val="EAEAEA"/>
          </a:solidFill>
        </p:spPr>
        <p:txBody>
          <a:bodyPr tIns="612000" anchor="ctr" anchorCtr="0"/>
          <a:lstStyle>
            <a:lvl1pPr>
              <a:defRPr sz="1333"/>
            </a:lvl1pPr>
          </a:lstStyle>
          <a:p>
            <a:r>
              <a:rPr lang="en-US" noProof="0" dirty="0"/>
              <a:t>Select the icon to insert a picture</a:t>
            </a:r>
          </a:p>
        </p:txBody>
      </p:sp>
      <p:sp>
        <p:nvSpPr>
          <p:cNvPr id="17" name="Espace réservé pour une image  7"/>
          <p:cNvSpPr>
            <a:spLocks noGrp="1"/>
          </p:cNvSpPr>
          <p:nvPr>
            <p:ph type="pic" sz="quarter" idx="18" hasCustomPrompt="1"/>
          </p:nvPr>
        </p:nvSpPr>
        <p:spPr bwMode="gray">
          <a:xfrm>
            <a:off x="7773648" y="-4867"/>
            <a:ext cx="2302933" cy="3888000"/>
          </a:xfrm>
          <a:solidFill>
            <a:srgbClr val="EAEAEA"/>
          </a:solidFill>
        </p:spPr>
        <p:txBody>
          <a:bodyPr tIns="612000" anchor="ctr" anchorCtr="0"/>
          <a:lstStyle>
            <a:lvl1pPr>
              <a:defRPr sz="1333"/>
            </a:lvl1pPr>
          </a:lstStyle>
          <a:p>
            <a:r>
              <a:rPr lang="en-US" noProof="0" dirty="0"/>
              <a:t>Select the icon to insert a picture</a:t>
            </a:r>
          </a:p>
        </p:txBody>
      </p:sp>
      <p:sp>
        <p:nvSpPr>
          <p:cNvPr id="18" name="Espace réservé pour une image  7"/>
          <p:cNvSpPr>
            <a:spLocks noGrp="1"/>
          </p:cNvSpPr>
          <p:nvPr>
            <p:ph type="pic" sz="quarter" idx="19" hasCustomPrompt="1"/>
          </p:nvPr>
        </p:nvSpPr>
        <p:spPr bwMode="gray">
          <a:xfrm>
            <a:off x="7773648" y="4170000"/>
            <a:ext cx="2304000" cy="2688000"/>
          </a:xfrm>
          <a:solidFill>
            <a:srgbClr val="EAEAEA"/>
          </a:solidFill>
        </p:spPr>
        <p:txBody>
          <a:bodyPr tIns="612000" anchor="ctr" anchorCtr="0"/>
          <a:lstStyle>
            <a:lvl1pPr>
              <a:defRPr sz="1333"/>
            </a:lvl1pPr>
          </a:lstStyle>
          <a:p>
            <a:r>
              <a:rPr lang="en-US" noProof="0" dirty="0"/>
              <a:t>Select the icon to insert a picture</a:t>
            </a:r>
          </a:p>
        </p:txBody>
      </p:sp>
      <p:sp>
        <p:nvSpPr>
          <p:cNvPr id="19"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20"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21"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Tree>
    <p:extLst>
      <p:ext uri="{BB962C8B-B14F-4D97-AF65-F5344CB8AC3E}">
        <p14:creationId xmlns:p14="http://schemas.microsoft.com/office/powerpoint/2010/main" val="6576339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Text ico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a:xfrm>
            <a:off x="-4911" y="5587767"/>
            <a:ext cx="478368" cy="452968"/>
          </a:xfrm>
          <a:prstGeom prst="rect">
            <a:avLst/>
          </a:prstGeom>
        </p:spPr>
        <p:txBody>
          <a:bodyPr/>
          <a:lstStyle/>
          <a:p>
            <a:r>
              <a:rPr lang="fr-FR">
                <a:solidFill>
                  <a:prstClr val="black"/>
                </a:solidFill>
              </a:rPr>
              <a:t>Date</a:t>
            </a:r>
            <a:endParaRPr lang="en-US" dirty="0">
              <a:solidFill>
                <a:prstClr val="black"/>
              </a:solidFill>
            </a:endParaRPr>
          </a:p>
        </p:txBody>
      </p:sp>
      <p:sp>
        <p:nvSpPr>
          <p:cNvPr id="12" name="Espace réservé du numéro de diapositive 11"/>
          <p:cNvSpPr>
            <a:spLocks noGrp="1"/>
          </p:cNvSpPr>
          <p:nvPr>
            <p:ph type="sldNum" sz="quarter" idx="11"/>
          </p:nvPr>
        </p:nvSpPr>
        <p:spPr bwMode="gray">
          <a:xfrm>
            <a:off x="-677" y="5252027"/>
            <a:ext cx="576080" cy="335740"/>
          </a:xfrm>
          <a:prstGeom prst="rect">
            <a:avLst/>
          </a:prstGeom>
        </p:spPr>
        <p:txBody>
          <a:bodyPr/>
          <a:lstStyle/>
          <a:p>
            <a:fld id="{733122C9-A0B9-462F-8757-0847AD287B63}" type="slidenum">
              <a:rPr lang="en-US">
                <a:solidFill>
                  <a:prstClr val="black"/>
                </a:solidFill>
              </a:rPr>
              <a:pPr/>
              <a:t>‹N°›</a:t>
            </a:fld>
            <a:endParaRPr lang="en-US" dirty="0">
              <a:solidFill>
                <a:prstClr val="black"/>
              </a:solidFill>
            </a:endParaRPr>
          </a:p>
        </p:txBody>
      </p:sp>
      <p:sp>
        <p:nvSpPr>
          <p:cNvPr id="13" name="Espace réservé du pied de page 12"/>
          <p:cNvSpPr>
            <a:spLocks noGrp="1"/>
          </p:cNvSpPr>
          <p:nvPr>
            <p:ph type="ftr" sz="quarter" idx="12"/>
          </p:nvPr>
        </p:nvSpPr>
        <p:spPr bwMode="gray">
          <a:xfrm>
            <a:off x="680561" y="5252027"/>
            <a:ext cx="9120000" cy="335740"/>
          </a:xfrm>
          <a:prstGeom prst="rect">
            <a:avLst/>
          </a:prstGeom>
        </p:spPr>
        <p:txBody>
          <a:bodyPr/>
          <a:lstStyle/>
          <a:p>
            <a:r>
              <a:rPr lang="en-US">
                <a:solidFill>
                  <a:prstClr val="black"/>
                </a:solidFill>
              </a:rPr>
              <a:t>Presentation title</a:t>
            </a:r>
            <a:endParaRPr lang="en-US" dirty="0">
              <a:solidFill>
                <a:prstClr val="black"/>
              </a:solidFill>
            </a:endParaRPr>
          </a:p>
        </p:txBody>
      </p:sp>
      <p:sp>
        <p:nvSpPr>
          <p:cNvPr id="10" name="Espace réservé pour une image  4"/>
          <p:cNvSpPr>
            <a:spLocks noGrp="1"/>
          </p:cNvSpPr>
          <p:nvPr>
            <p:ph type="pic" sz="quarter" idx="14" hasCustomPrompt="1"/>
          </p:nvPr>
        </p:nvSpPr>
        <p:spPr bwMode="gray">
          <a:xfrm>
            <a:off x="2664616" y="1152548"/>
            <a:ext cx="1152000" cy="1152000"/>
          </a:xfrm>
        </p:spPr>
        <p:txBody>
          <a:bodyPr anchor="ctr" anchorCtr="0"/>
          <a:lstStyle>
            <a:lvl1pPr>
              <a:defRPr sz="1333"/>
            </a:lvl1pPr>
          </a:lstStyle>
          <a:p>
            <a:r>
              <a:rPr lang="en-US" noProof="0" dirty="0"/>
              <a:t>Select the icon to insert a picture</a:t>
            </a:r>
          </a:p>
        </p:txBody>
      </p:sp>
      <p:sp>
        <p:nvSpPr>
          <p:cNvPr id="8" name="Espace réservé du texte 7"/>
          <p:cNvSpPr>
            <a:spLocks noGrp="1"/>
          </p:cNvSpPr>
          <p:nvPr>
            <p:ph type="body" sz="quarter" idx="15" hasCustomPrompt="1"/>
          </p:nvPr>
        </p:nvSpPr>
        <p:spPr bwMode="gray">
          <a:xfrm>
            <a:off x="2112434" y="2314864"/>
            <a:ext cx="2256367" cy="1114136"/>
          </a:xfrm>
        </p:spPr>
        <p:txBody>
          <a:bodyPr/>
          <a:lstStyle>
            <a:lvl1pPr>
              <a:defRPr sz="1333">
                <a:solidFill>
                  <a:schemeClr val="bg1"/>
                </a:solidFill>
              </a:defRPr>
            </a:lvl1pPr>
          </a:lstStyle>
          <a:p>
            <a:pPr lvl="0"/>
            <a:r>
              <a:rPr lang="en-US" noProof="0" dirty="0"/>
              <a:t>Text</a:t>
            </a:r>
          </a:p>
        </p:txBody>
      </p:sp>
      <p:sp>
        <p:nvSpPr>
          <p:cNvPr id="14" name="Espace réservé pour une image  4"/>
          <p:cNvSpPr>
            <a:spLocks noGrp="1"/>
          </p:cNvSpPr>
          <p:nvPr>
            <p:ph type="pic" sz="quarter" idx="16" hasCustomPrompt="1"/>
          </p:nvPr>
        </p:nvSpPr>
        <p:spPr bwMode="gray">
          <a:xfrm>
            <a:off x="5520000" y="1152548"/>
            <a:ext cx="1152000" cy="1152000"/>
          </a:xfrm>
        </p:spPr>
        <p:txBody>
          <a:bodyPr anchor="ctr" anchorCtr="0"/>
          <a:lstStyle>
            <a:lvl1pPr>
              <a:defRPr sz="1333"/>
            </a:lvl1pPr>
          </a:lstStyle>
          <a:p>
            <a:r>
              <a:rPr lang="en-US" noProof="0" dirty="0"/>
              <a:t>Select the icon to insert a picture</a:t>
            </a:r>
          </a:p>
        </p:txBody>
      </p:sp>
      <p:sp>
        <p:nvSpPr>
          <p:cNvPr id="15" name="Espace réservé du texte 7"/>
          <p:cNvSpPr>
            <a:spLocks noGrp="1"/>
          </p:cNvSpPr>
          <p:nvPr>
            <p:ph type="body" sz="quarter" idx="17" hasCustomPrompt="1"/>
          </p:nvPr>
        </p:nvSpPr>
        <p:spPr bwMode="gray">
          <a:xfrm>
            <a:off x="4967818" y="2314864"/>
            <a:ext cx="2256367" cy="1114136"/>
          </a:xfrm>
        </p:spPr>
        <p:txBody>
          <a:bodyPr/>
          <a:lstStyle>
            <a:lvl1pPr>
              <a:defRPr sz="1333">
                <a:solidFill>
                  <a:schemeClr val="bg1"/>
                </a:solidFill>
              </a:defRPr>
            </a:lvl1pPr>
          </a:lstStyle>
          <a:p>
            <a:pPr lvl="0"/>
            <a:r>
              <a:rPr lang="en-US" noProof="0" dirty="0"/>
              <a:t>Text</a:t>
            </a:r>
          </a:p>
        </p:txBody>
      </p:sp>
      <p:sp>
        <p:nvSpPr>
          <p:cNvPr id="16" name="Espace réservé pour une image  4"/>
          <p:cNvSpPr>
            <a:spLocks noGrp="1"/>
          </p:cNvSpPr>
          <p:nvPr>
            <p:ph type="pic" sz="quarter" idx="18" hasCustomPrompt="1"/>
          </p:nvPr>
        </p:nvSpPr>
        <p:spPr bwMode="gray">
          <a:xfrm>
            <a:off x="8400256" y="1152548"/>
            <a:ext cx="1152000" cy="1152000"/>
          </a:xfrm>
        </p:spPr>
        <p:txBody>
          <a:bodyPr anchor="ctr" anchorCtr="0"/>
          <a:lstStyle>
            <a:lvl1pPr>
              <a:defRPr sz="1333"/>
            </a:lvl1pPr>
          </a:lstStyle>
          <a:p>
            <a:r>
              <a:rPr lang="en-US" noProof="0" dirty="0"/>
              <a:t>Select the icon to insert a picture</a:t>
            </a:r>
          </a:p>
        </p:txBody>
      </p:sp>
      <p:sp>
        <p:nvSpPr>
          <p:cNvPr id="17" name="Espace réservé du texte 7"/>
          <p:cNvSpPr>
            <a:spLocks noGrp="1"/>
          </p:cNvSpPr>
          <p:nvPr>
            <p:ph type="body" sz="quarter" idx="19" hasCustomPrompt="1"/>
          </p:nvPr>
        </p:nvSpPr>
        <p:spPr bwMode="gray">
          <a:xfrm>
            <a:off x="7848074" y="2314864"/>
            <a:ext cx="2256367" cy="1114136"/>
          </a:xfrm>
        </p:spPr>
        <p:txBody>
          <a:bodyPr/>
          <a:lstStyle>
            <a:lvl1pPr>
              <a:defRPr sz="1333">
                <a:solidFill>
                  <a:schemeClr val="bg1"/>
                </a:solidFill>
              </a:defRPr>
            </a:lvl1pPr>
          </a:lstStyle>
          <a:p>
            <a:pPr lvl="0"/>
            <a:r>
              <a:rPr lang="en-US" noProof="0" dirty="0"/>
              <a:t>Text</a:t>
            </a:r>
          </a:p>
        </p:txBody>
      </p:sp>
      <p:sp>
        <p:nvSpPr>
          <p:cNvPr id="18" name="Espace réservé du texte 17"/>
          <p:cNvSpPr>
            <a:spLocks noGrp="1"/>
          </p:cNvSpPr>
          <p:nvPr>
            <p:ph type="body" sz="quarter" idx="20" hasCustomPrompt="1"/>
          </p:nvPr>
        </p:nvSpPr>
        <p:spPr bwMode="gray">
          <a:xfrm>
            <a:off x="478367" y="4389107"/>
            <a:ext cx="11235267" cy="1488877"/>
          </a:xfrm>
        </p:spPr>
        <p:txBody>
          <a:bodyPr/>
          <a:lstStyle>
            <a:lvl1pPr>
              <a:defRPr sz="1333"/>
            </a:lvl1pPr>
            <a:lvl2pPr>
              <a:defRPr sz="1333"/>
            </a:lvl2pPr>
          </a:lstStyle>
          <a:p>
            <a:pPr lvl="0"/>
            <a:r>
              <a:rPr lang="en-US" noProof="0" dirty="0"/>
              <a:t>Text level 1</a:t>
            </a:r>
          </a:p>
          <a:p>
            <a:pPr lvl="1"/>
            <a:r>
              <a:rPr lang="en-US" noProof="0" dirty="0"/>
              <a:t>Text level 2</a:t>
            </a:r>
          </a:p>
        </p:txBody>
      </p:sp>
      <p:sp>
        <p:nvSpPr>
          <p:cNvPr id="5" name="Espace réservé pour une image  4"/>
          <p:cNvSpPr>
            <a:spLocks noGrp="1"/>
          </p:cNvSpPr>
          <p:nvPr>
            <p:ph type="pic" sz="quarter" idx="13" hasCustomPrompt="1"/>
          </p:nvPr>
        </p:nvSpPr>
        <p:spPr bwMode="gray">
          <a:xfrm>
            <a:off x="0" y="0"/>
            <a:ext cx="12192000" cy="3912000"/>
          </a:xfrm>
          <a:solidFill>
            <a:srgbClr val="EAEAEA"/>
          </a:solidFill>
        </p:spPr>
        <p:txBody>
          <a:bodyPr bIns="1548000" anchor="ctr" anchorCtr="0"/>
          <a:lstStyle>
            <a:lvl1pPr>
              <a:defRPr sz="1333"/>
            </a:lvl1pPr>
          </a:lstStyle>
          <a:p>
            <a:r>
              <a:rPr lang="en-US" noProof="0" dirty="0"/>
              <a:t>Select the icon to insert a picture then </a:t>
            </a:r>
            <a:br>
              <a:rPr lang="en-US" noProof="0" dirty="0"/>
            </a:br>
            <a:r>
              <a:rPr lang="en-US" noProof="0" dirty="0"/>
              <a:t>place the visual into background position </a:t>
            </a:r>
            <a:br>
              <a:rPr lang="en-US" noProof="0" dirty="0"/>
            </a:br>
            <a:r>
              <a:rPr lang="en-US" noProof="0" dirty="0"/>
              <a:t>(Right click with the mouse / Send to back)</a:t>
            </a:r>
          </a:p>
        </p:txBody>
      </p:sp>
    </p:spTree>
    <p:extLst>
      <p:ext uri="{BB962C8B-B14F-4D97-AF65-F5344CB8AC3E}">
        <p14:creationId xmlns:p14="http://schemas.microsoft.com/office/powerpoint/2010/main" val="37282401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itre et contenu">
    <p:spTree>
      <p:nvGrpSpPr>
        <p:cNvPr id="1" name=""/>
        <p:cNvGrpSpPr/>
        <p:nvPr/>
      </p:nvGrpSpPr>
      <p:grpSpPr>
        <a:xfrm>
          <a:off x="0" y="0"/>
          <a:ext cx="0" cy="0"/>
          <a:chOff x="0" y="0"/>
          <a:chExt cx="0" cy="0"/>
        </a:xfrm>
      </p:grpSpPr>
      <p:sp>
        <p:nvSpPr>
          <p:cNvPr id="17" name="Espace réservé du texte 4"/>
          <p:cNvSpPr>
            <a:spLocks noGrp="1"/>
          </p:cNvSpPr>
          <p:nvPr>
            <p:ph type="body" sz="quarter" idx="18" hasCustomPrompt="1"/>
          </p:nvPr>
        </p:nvSpPr>
        <p:spPr bwMode="gray">
          <a:xfrm>
            <a:off x="7540504" y="4149080"/>
            <a:ext cx="1248139" cy="1104000"/>
          </a:xfrm>
          <a:prstGeom prst="callout2">
            <a:avLst>
              <a:gd name="adj1" fmla="val 43813"/>
              <a:gd name="adj2" fmla="val -10594"/>
              <a:gd name="adj3" fmla="val 43813"/>
              <a:gd name="adj4" fmla="val -42349"/>
              <a:gd name="adj5" fmla="val 3930"/>
              <a:gd name="adj6" fmla="val -74212"/>
            </a:avLst>
          </a:prstGeom>
          <a:ln>
            <a:solidFill>
              <a:schemeClr val="accent1"/>
            </a:solidFill>
          </a:ln>
        </p:spPr>
        <p:txBody>
          <a:bodyPr anchor="ctr" anchorCtr="0"/>
          <a:lstStyle>
            <a:lvl1pPr algn="l">
              <a:defRPr sz="1333" b="1">
                <a:solidFill>
                  <a:schemeClr val="accent1"/>
                </a:solidFill>
              </a:defRPr>
            </a:lvl1pPr>
            <a:lvl2pPr algn="l">
              <a:defRPr sz="1333" b="1">
                <a:solidFill>
                  <a:schemeClr val="accent1"/>
                </a:solidFill>
              </a:defRPr>
            </a:lvl2pPr>
          </a:lstStyle>
          <a:p>
            <a:pPr lvl="0"/>
            <a:r>
              <a:rPr lang="en-US" noProof="0" dirty="0"/>
              <a:t>Text level 1</a:t>
            </a:r>
          </a:p>
          <a:p>
            <a:pPr lvl="1"/>
            <a:r>
              <a:rPr lang="en-US" noProof="0" dirty="0"/>
              <a:t>Text level 2</a:t>
            </a:r>
          </a:p>
        </p:txBody>
      </p:sp>
      <p:sp>
        <p:nvSpPr>
          <p:cNvPr id="15" name="Espace réservé du texte 4"/>
          <p:cNvSpPr>
            <a:spLocks noGrp="1"/>
          </p:cNvSpPr>
          <p:nvPr>
            <p:ph type="body" sz="quarter" idx="16" hasCustomPrompt="1"/>
          </p:nvPr>
        </p:nvSpPr>
        <p:spPr bwMode="gray">
          <a:xfrm>
            <a:off x="3359696" y="4149080"/>
            <a:ext cx="1248139" cy="1104000"/>
          </a:xfrm>
          <a:prstGeom prst="callout2">
            <a:avLst>
              <a:gd name="adj1" fmla="val 44643"/>
              <a:gd name="adj2" fmla="val 114996"/>
              <a:gd name="adj3" fmla="val 44643"/>
              <a:gd name="adj4" fmla="val 145669"/>
              <a:gd name="adj5" fmla="val 3100"/>
              <a:gd name="adj6" fmla="val 176234"/>
            </a:avLst>
          </a:prstGeom>
          <a:ln>
            <a:solidFill>
              <a:schemeClr val="accent5"/>
            </a:solidFill>
          </a:ln>
        </p:spPr>
        <p:txBody>
          <a:bodyPr anchor="ctr" anchorCtr="0"/>
          <a:lstStyle>
            <a:lvl1pPr algn="r">
              <a:defRPr sz="1333" b="1">
                <a:solidFill>
                  <a:schemeClr val="accent5"/>
                </a:solidFill>
              </a:defRPr>
            </a:lvl1pPr>
            <a:lvl2pPr algn="r">
              <a:defRPr sz="1333" b="1">
                <a:solidFill>
                  <a:schemeClr val="accent5"/>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3359697" y="1744572"/>
            <a:ext cx="1248139" cy="1104000"/>
          </a:xfrm>
          <a:prstGeom prst="callout2">
            <a:avLst>
              <a:gd name="adj1" fmla="val 48795"/>
              <a:gd name="adj2" fmla="val 112793"/>
              <a:gd name="adj3" fmla="val 48795"/>
              <a:gd name="adj4" fmla="val 145669"/>
              <a:gd name="adj5" fmla="val 85303"/>
              <a:gd name="adj6" fmla="val 178437"/>
            </a:avLst>
          </a:prstGeom>
          <a:ln>
            <a:solidFill>
              <a:schemeClr val="bg2"/>
            </a:solidFill>
          </a:ln>
        </p:spPr>
        <p:txBody>
          <a:bodyPr anchor="ctr" anchorCtr="0"/>
          <a:lstStyle>
            <a:lvl1pPr algn="r">
              <a:defRPr sz="1333" b="1">
                <a:solidFill>
                  <a:schemeClr val="bg2"/>
                </a:solidFill>
              </a:defRPr>
            </a:lvl1pPr>
            <a:lvl2pPr algn="r">
              <a:defRPr sz="1333" b="1">
                <a:solidFill>
                  <a:schemeClr val="bg2"/>
                </a:solidFill>
              </a:defRPr>
            </a:lvl2pPr>
          </a:lstStyle>
          <a:p>
            <a:pPr lvl="0"/>
            <a:r>
              <a:rPr lang="en-US" noProof="0" dirty="0"/>
              <a:t>Text level 1</a:t>
            </a:r>
          </a:p>
          <a:p>
            <a:pPr lvl="1"/>
            <a:r>
              <a:rPr lang="en-US" noProof="0" dirty="0"/>
              <a:t>Text level 2</a:t>
            </a:r>
          </a:p>
        </p:txBody>
      </p:sp>
      <p:sp>
        <p:nvSpPr>
          <p:cNvPr id="20" name="Espace réservé du texte 4"/>
          <p:cNvSpPr>
            <a:spLocks noGrp="1"/>
          </p:cNvSpPr>
          <p:nvPr>
            <p:ph type="body" sz="quarter" idx="21" hasCustomPrompt="1"/>
          </p:nvPr>
        </p:nvSpPr>
        <p:spPr bwMode="gray">
          <a:xfrm>
            <a:off x="7540504" y="1738983"/>
            <a:ext cx="1248139" cy="1104000"/>
          </a:xfrm>
          <a:prstGeom prst="callout2">
            <a:avLst>
              <a:gd name="adj1" fmla="val 48795"/>
              <a:gd name="adj2" fmla="val -10594"/>
              <a:gd name="adj3" fmla="val 48794"/>
              <a:gd name="adj4" fmla="val -43818"/>
              <a:gd name="adj5" fmla="val 81982"/>
              <a:gd name="adj6" fmla="val -72009"/>
            </a:avLst>
          </a:prstGeom>
          <a:ln>
            <a:solidFill>
              <a:srgbClr val="FFCD1E"/>
            </a:solidFill>
          </a:ln>
        </p:spPr>
        <p:txBody>
          <a:bodyPr anchor="ctr" anchorCtr="0"/>
          <a:lstStyle>
            <a:lvl1pPr algn="l">
              <a:defRPr sz="1333" b="1">
                <a:solidFill>
                  <a:srgbClr val="FFCD1E"/>
                </a:solidFill>
              </a:defRPr>
            </a:lvl1pPr>
            <a:lvl2pPr algn="l">
              <a:defRPr sz="1333" b="1">
                <a:solidFill>
                  <a:srgbClr val="FFCD1E"/>
                </a:solidFill>
              </a:defRPr>
            </a:lvl2pPr>
          </a:lstStyle>
          <a:p>
            <a:pPr lvl="0"/>
            <a:r>
              <a:rPr lang="en-US" noProof="0" dirty="0"/>
              <a:t>Text level 1</a:t>
            </a:r>
          </a:p>
          <a:p>
            <a:pPr lvl="1"/>
            <a:r>
              <a:rPr lang="en-US" noProof="0" dirty="0"/>
              <a:t>Text level 2</a:t>
            </a:r>
          </a:p>
        </p:txBody>
      </p:sp>
      <p:sp>
        <p:nvSpPr>
          <p:cNvPr id="11" name="Espace réservé de la date 10"/>
          <p:cNvSpPr>
            <a:spLocks noGrp="1"/>
          </p:cNvSpPr>
          <p:nvPr>
            <p:ph type="dt" sz="half" idx="10"/>
          </p:nvPr>
        </p:nvSpPr>
        <p:spPr bwMode="gray">
          <a:xfrm>
            <a:off x="-4911" y="5587767"/>
            <a:ext cx="478368" cy="452968"/>
          </a:xfrm>
          <a:prstGeom prst="rect">
            <a:avLst/>
          </a:prstGeom>
        </p:spPr>
        <p:txBody>
          <a:bodyPr/>
          <a:lstStyle/>
          <a:p>
            <a:r>
              <a:rPr lang="fr-FR">
                <a:solidFill>
                  <a:prstClr val="black"/>
                </a:solidFill>
              </a:rPr>
              <a:t>Date</a:t>
            </a:r>
            <a:endParaRPr lang="en-US" dirty="0">
              <a:solidFill>
                <a:prstClr val="black"/>
              </a:solidFill>
            </a:endParaRPr>
          </a:p>
        </p:txBody>
      </p:sp>
      <p:sp>
        <p:nvSpPr>
          <p:cNvPr id="12" name="Espace réservé du numéro de diapositive 11"/>
          <p:cNvSpPr>
            <a:spLocks noGrp="1"/>
          </p:cNvSpPr>
          <p:nvPr>
            <p:ph type="sldNum" sz="quarter" idx="11"/>
          </p:nvPr>
        </p:nvSpPr>
        <p:spPr bwMode="gray">
          <a:xfrm>
            <a:off x="-677" y="5252027"/>
            <a:ext cx="576080" cy="335740"/>
          </a:xfrm>
          <a:prstGeom prst="rect">
            <a:avLst/>
          </a:prstGeom>
        </p:spPr>
        <p:txBody>
          <a:bodyPr/>
          <a:lstStyle/>
          <a:p>
            <a:fld id="{733122C9-A0B9-462F-8757-0847AD287B63}" type="slidenum">
              <a:rPr lang="en-US">
                <a:solidFill>
                  <a:prstClr val="black"/>
                </a:solidFill>
              </a:rPr>
              <a:pPr/>
              <a:t>‹N°›</a:t>
            </a:fld>
            <a:endParaRPr lang="en-US" dirty="0">
              <a:solidFill>
                <a:prstClr val="black"/>
              </a:solidFill>
            </a:endParaRPr>
          </a:p>
        </p:txBody>
      </p:sp>
      <p:sp>
        <p:nvSpPr>
          <p:cNvPr id="13" name="Espace réservé du pied de page 12"/>
          <p:cNvSpPr>
            <a:spLocks noGrp="1"/>
          </p:cNvSpPr>
          <p:nvPr>
            <p:ph type="ftr" sz="quarter" idx="12"/>
          </p:nvPr>
        </p:nvSpPr>
        <p:spPr bwMode="gray">
          <a:xfrm>
            <a:off x="680561" y="5252027"/>
            <a:ext cx="9120000" cy="335740"/>
          </a:xfrm>
          <a:prstGeom prst="rect">
            <a:avLst/>
          </a:prstGeom>
        </p:spPr>
        <p:txBody>
          <a:bodyPr/>
          <a:lstStyle/>
          <a:p>
            <a:r>
              <a:rPr lang="en-US">
                <a:solidFill>
                  <a:prstClr val="black"/>
                </a:solidFill>
              </a:rPr>
              <a:t>Presentation title</a:t>
            </a:r>
            <a:endParaRPr lang="en-US" dirty="0">
              <a:solidFill>
                <a:prstClr val="black"/>
              </a:solidFill>
            </a:endParaRPr>
          </a:p>
        </p:txBody>
      </p:sp>
      <p:sp>
        <p:nvSpPr>
          <p:cNvPr id="14" name="Espace réservé du texte 4"/>
          <p:cNvSpPr>
            <a:spLocks noGrp="1"/>
          </p:cNvSpPr>
          <p:nvPr>
            <p:ph type="body" sz="quarter" idx="15" hasCustomPrompt="1"/>
          </p:nvPr>
        </p:nvSpPr>
        <p:spPr bwMode="gray">
          <a:xfrm>
            <a:off x="1055440" y="1738983"/>
            <a:ext cx="2304256" cy="1017943"/>
          </a:xfrm>
          <a:prstGeom prst="roundRect">
            <a:avLst>
              <a:gd name="adj" fmla="val 5779"/>
            </a:avLst>
          </a:prstGeom>
          <a:solidFill>
            <a:schemeClr val="bg2"/>
          </a:solidFill>
        </p:spPr>
        <p:txBody>
          <a:bodyPr lIns="72000" tIns="36000" rIns="36000" bIns="36000" anchor="ctr" anchorCtr="0"/>
          <a:lstStyle>
            <a:lvl1pPr algn="l">
              <a:lnSpc>
                <a:spcPct val="100000"/>
              </a:lnSpc>
              <a:defRPr>
                <a:solidFill>
                  <a:schemeClr val="bg1"/>
                </a:solidFill>
              </a:defRPr>
            </a:lvl1pPr>
            <a:lvl2pPr algn="l">
              <a:lnSpc>
                <a:spcPct val="100000"/>
              </a:lnSpc>
              <a:spcBef>
                <a:spcPts val="0"/>
              </a:spcBef>
              <a:spcAft>
                <a:spcPts val="0"/>
              </a:spcAft>
              <a:defRPr>
                <a:solidFill>
                  <a:schemeClr val="bg1"/>
                </a:solidFill>
              </a:defRPr>
            </a:lvl2pPr>
          </a:lstStyle>
          <a:p>
            <a:pPr lvl="0"/>
            <a:r>
              <a:rPr lang="en-US" noProof="0" dirty="0"/>
              <a:t>Text level 1</a:t>
            </a:r>
          </a:p>
          <a:p>
            <a:pPr lvl="1"/>
            <a:r>
              <a:rPr lang="en-US" noProof="0" dirty="0"/>
              <a:t>Text level 2</a:t>
            </a:r>
          </a:p>
        </p:txBody>
      </p:sp>
      <p:sp>
        <p:nvSpPr>
          <p:cNvPr id="3" name="Titre 2"/>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16" name="Espace réservé du texte 4"/>
          <p:cNvSpPr>
            <a:spLocks noGrp="1"/>
          </p:cNvSpPr>
          <p:nvPr>
            <p:ph type="body" sz="quarter" idx="17" hasCustomPrompt="1"/>
          </p:nvPr>
        </p:nvSpPr>
        <p:spPr bwMode="gray">
          <a:xfrm>
            <a:off x="1055439" y="4143491"/>
            <a:ext cx="2304256" cy="1017943"/>
          </a:xfrm>
          <a:prstGeom prst="roundRect">
            <a:avLst>
              <a:gd name="adj" fmla="val 5779"/>
            </a:avLst>
          </a:prstGeom>
          <a:solidFill>
            <a:schemeClr val="accent5"/>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8871143" y="4149081"/>
            <a:ext cx="2304256" cy="1017943"/>
          </a:xfrm>
          <a:prstGeom prst="roundRect">
            <a:avLst>
              <a:gd name="adj" fmla="val 5779"/>
            </a:avLst>
          </a:prstGeom>
          <a:solidFill>
            <a:schemeClr val="accent1"/>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9" name="Espace réservé du texte 4"/>
          <p:cNvSpPr>
            <a:spLocks noGrp="1"/>
          </p:cNvSpPr>
          <p:nvPr>
            <p:ph type="body" sz="quarter" idx="20" hasCustomPrompt="1"/>
          </p:nvPr>
        </p:nvSpPr>
        <p:spPr bwMode="gray">
          <a:xfrm>
            <a:off x="8871143" y="1738983"/>
            <a:ext cx="2304256" cy="1017943"/>
          </a:xfrm>
          <a:prstGeom prst="roundRect">
            <a:avLst>
              <a:gd name="adj" fmla="val 5779"/>
            </a:avLst>
          </a:prstGeom>
          <a:solidFill>
            <a:srgbClr val="FFCD1E"/>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5" name="Espace réservé du texte 4"/>
          <p:cNvSpPr>
            <a:spLocks noGrp="1"/>
          </p:cNvSpPr>
          <p:nvPr>
            <p:ph type="body" sz="quarter" idx="13" hasCustomPrompt="1"/>
          </p:nvPr>
        </p:nvSpPr>
        <p:spPr bwMode="gray">
          <a:xfrm>
            <a:off x="5135894" y="2468034"/>
            <a:ext cx="1921073" cy="1921933"/>
          </a:xfrm>
          <a:prstGeom prst="ellipse">
            <a:avLst/>
          </a:prstGeom>
          <a:solidFill>
            <a:schemeClr val="tx2"/>
          </a:solidFill>
        </p:spPr>
        <p:txBody>
          <a:bodyPr anchor="ctr" anchorCtr="0"/>
          <a:lstStyle>
            <a:lvl1pPr>
              <a:lnSpc>
                <a:spcPct val="100000"/>
              </a:lnSpc>
              <a:defRPr sz="1333">
                <a:solidFill>
                  <a:schemeClr val="bg1"/>
                </a:solidFill>
              </a:defRPr>
            </a:lvl1pPr>
            <a:lvl2pPr>
              <a:lnSpc>
                <a:spcPct val="100000"/>
              </a:lnSpc>
              <a:defRPr sz="1333">
                <a:solidFill>
                  <a:schemeClr val="bg1"/>
                </a:solidFill>
              </a:defRPr>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35029785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a:xfrm>
            <a:off x="-4911" y="5587767"/>
            <a:ext cx="478368" cy="452968"/>
          </a:xfrm>
          <a:prstGeom prst="rect">
            <a:avLst/>
          </a:prstGeom>
        </p:spPr>
        <p:txBody>
          <a:bodyPr/>
          <a:lstStyle/>
          <a:p>
            <a:r>
              <a:rPr lang="fr-FR">
                <a:solidFill>
                  <a:prstClr val="black"/>
                </a:solidFill>
              </a:rPr>
              <a:t>Date</a:t>
            </a:r>
            <a:endParaRPr lang="en-US" dirty="0">
              <a:solidFill>
                <a:prstClr val="black"/>
              </a:solidFill>
            </a:endParaRPr>
          </a:p>
        </p:txBody>
      </p:sp>
      <p:sp>
        <p:nvSpPr>
          <p:cNvPr id="12" name="Espace réservé du numéro de diapositive 11"/>
          <p:cNvSpPr>
            <a:spLocks noGrp="1"/>
          </p:cNvSpPr>
          <p:nvPr>
            <p:ph type="sldNum" sz="quarter" idx="11"/>
          </p:nvPr>
        </p:nvSpPr>
        <p:spPr bwMode="gray">
          <a:xfrm>
            <a:off x="-677" y="5252027"/>
            <a:ext cx="576080" cy="335740"/>
          </a:xfrm>
          <a:prstGeom prst="rect">
            <a:avLst/>
          </a:prstGeom>
        </p:spPr>
        <p:txBody>
          <a:bodyPr/>
          <a:lstStyle/>
          <a:p>
            <a:fld id="{733122C9-A0B9-462F-8757-0847AD287B63}" type="slidenum">
              <a:rPr lang="en-US">
                <a:solidFill>
                  <a:prstClr val="black"/>
                </a:solidFill>
              </a:rPr>
              <a:pPr/>
              <a:t>‹N°›</a:t>
            </a:fld>
            <a:endParaRPr lang="en-US" dirty="0">
              <a:solidFill>
                <a:prstClr val="black"/>
              </a:solidFill>
            </a:endParaRPr>
          </a:p>
        </p:txBody>
      </p:sp>
      <p:sp>
        <p:nvSpPr>
          <p:cNvPr id="13" name="Espace réservé du pied de page 12"/>
          <p:cNvSpPr>
            <a:spLocks noGrp="1"/>
          </p:cNvSpPr>
          <p:nvPr>
            <p:ph type="ftr" sz="quarter" idx="12"/>
          </p:nvPr>
        </p:nvSpPr>
        <p:spPr bwMode="gray">
          <a:xfrm>
            <a:off x="680561" y="5252027"/>
            <a:ext cx="9120000" cy="335740"/>
          </a:xfrm>
          <a:prstGeom prst="rect">
            <a:avLst/>
          </a:prstGeom>
        </p:spPr>
        <p:txBody>
          <a:bodyPr/>
          <a:lstStyle/>
          <a:p>
            <a:r>
              <a:rPr lang="en-US">
                <a:solidFill>
                  <a:prstClr val="black"/>
                </a:solidFill>
              </a:rPr>
              <a:t>Presentation title</a:t>
            </a:r>
            <a:endParaRPr lang="en-US" dirty="0">
              <a:solidFill>
                <a:prstClr val="black"/>
              </a:solidFill>
            </a:endParaRPr>
          </a:p>
        </p:txBody>
      </p:sp>
      <p:sp>
        <p:nvSpPr>
          <p:cNvPr id="4" name="Titre 3"/>
          <p:cNvSpPr>
            <a:spLocks noGrp="1"/>
          </p:cNvSpPr>
          <p:nvPr>
            <p:ph type="title" hasCustomPrompt="1"/>
          </p:nvPr>
        </p:nvSpPr>
        <p:spPr bwMode="gray">
          <a:xfrm>
            <a:off x="478368" y="584885"/>
            <a:ext cx="11235267" cy="443849"/>
          </a:xfrm>
        </p:spPr>
        <p:txBody>
          <a:bodyPr/>
          <a:lstStyle>
            <a:lvl1pPr>
              <a:defRPr/>
            </a:lvl1pPr>
          </a:lstStyle>
          <a:p>
            <a:r>
              <a:rPr lang="en-US" noProof="0" dirty="0"/>
              <a:t>Title</a:t>
            </a:r>
          </a:p>
        </p:txBody>
      </p:sp>
      <p:sp>
        <p:nvSpPr>
          <p:cNvPr id="5" name="Espace réservé du tableau 4"/>
          <p:cNvSpPr>
            <a:spLocks noGrp="1"/>
          </p:cNvSpPr>
          <p:nvPr>
            <p:ph type="tbl" sz="quarter" idx="13" hasCustomPrompt="1"/>
          </p:nvPr>
        </p:nvSpPr>
        <p:spPr bwMode="gray">
          <a:xfrm>
            <a:off x="478367" y="1028701"/>
            <a:ext cx="11235267" cy="4944583"/>
          </a:xfrm>
        </p:spPr>
        <p:txBody>
          <a:bodyPr tIns="540000" anchor="ctr" anchorCtr="0"/>
          <a:lstStyle>
            <a:lvl1pPr>
              <a:defRPr/>
            </a:lvl1pPr>
          </a:lstStyle>
          <a:p>
            <a:r>
              <a:rPr lang="en-US" noProof="0" dirty="0"/>
              <a:t>Table</a:t>
            </a:r>
          </a:p>
        </p:txBody>
      </p:sp>
    </p:spTree>
    <p:extLst>
      <p:ext uri="{BB962C8B-B14F-4D97-AF65-F5344CB8AC3E}">
        <p14:creationId xmlns:p14="http://schemas.microsoft.com/office/powerpoint/2010/main" val="32336407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a:xfrm>
            <a:off x="-4911" y="5587767"/>
            <a:ext cx="478368" cy="452968"/>
          </a:xfrm>
          <a:prstGeom prst="rect">
            <a:avLst/>
          </a:prstGeom>
        </p:spPr>
        <p:txBody>
          <a:bodyPr/>
          <a:lstStyle/>
          <a:p>
            <a:r>
              <a:rPr lang="fr-FR">
                <a:solidFill>
                  <a:prstClr val="black"/>
                </a:solidFill>
              </a:rPr>
              <a:t>Date</a:t>
            </a:r>
            <a:endParaRPr lang="en-US" dirty="0">
              <a:solidFill>
                <a:prstClr val="black"/>
              </a:solidFill>
            </a:endParaRPr>
          </a:p>
        </p:txBody>
      </p:sp>
      <p:sp>
        <p:nvSpPr>
          <p:cNvPr id="12" name="Espace réservé du numéro de diapositive 11"/>
          <p:cNvSpPr>
            <a:spLocks noGrp="1"/>
          </p:cNvSpPr>
          <p:nvPr>
            <p:ph type="sldNum" sz="quarter" idx="11"/>
          </p:nvPr>
        </p:nvSpPr>
        <p:spPr bwMode="gray">
          <a:xfrm>
            <a:off x="-677" y="5252027"/>
            <a:ext cx="576080" cy="335740"/>
          </a:xfrm>
          <a:prstGeom prst="rect">
            <a:avLst/>
          </a:prstGeom>
        </p:spPr>
        <p:txBody>
          <a:bodyPr/>
          <a:lstStyle/>
          <a:p>
            <a:fld id="{733122C9-A0B9-462F-8757-0847AD287B63}" type="slidenum">
              <a:rPr lang="en-US">
                <a:solidFill>
                  <a:prstClr val="black"/>
                </a:solidFill>
              </a:rPr>
              <a:pPr/>
              <a:t>‹N°›</a:t>
            </a:fld>
            <a:endParaRPr lang="en-US" dirty="0">
              <a:solidFill>
                <a:prstClr val="black"/>
              </a:solidFill>
            </a:endParaRPr>
          </a:p>
        </p:txBody>
      </p:sp>
      <p:sp>
        <p:nvSpPr>
          <p:cNvPr id="13" name="Espace réservé du pied de page 12"/>
          <p:cNvSpPr>
            <a:spLocks noGrp="1"/>
          </p:cNvSpPr>
          <p:nvPr>
            <p:ph type="ftr" sz="quarter" idx="12"/>
          </p:nvPr>
        </p:nvSpPr>
        <p:spPr bwMode="gray">
          <a:xfrm>
            <a:off x="680561" y="5252027"/>
            <a:ext cx="9120000" cy="335740"/>
          </a:xfrm>
          <a:prstGeom prst="rect">
            <a:avLst/>
          </a:prstGeom>
        </p:spPr>
        <p:txBody>
          <a:bodyPr/>
          <a:lstStyle/>
          <a:p>
            <a:r>
              <a:rPr lang="en-US">
                <a:solidFill>
                  <a:prstClr val="black"/>
                </a:solidFill>
              </a:rPr>
              <a:t>Presentation title</a:t>
            </a:r>
            <a:endParaRPr lang="en-US" dirty="0">
              <a:solidFill>
                <a:prstClr val="black"/>
              </a:solidFill>
            </a:endParaRPr>
          </a:p>
        </p:txBody>
      </p:sp>
      <p:sp>
        <p:nvSpPr>
          <p:cNvPr id="4" name="Titre 3"/>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478368"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459377" y="246803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5" hasCustomPrompt="1"/>
          </p:nvPr>
        </p:nvSpPr>
        <p:spPr bwMode="gray">
          <a:xfrm>
            <a:off x="2159564" y="2459636"/>
            <a:ext cx="912000" cy="912000"/>
          </a:xfrm>
          <a:prstGeom prst="ellipse">
            <a:avLst/>
          </a:prstGeom>
          <a:solidFill>
            <a:srgbClr val="DCDC00"/>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5" name="Espace réservé du texte 4"/>
          <p:cNvSpPr>
            <a:spLocks noGrp="1"/>
          </p:cNvSpPr>
          <p:nvPr>
            <p:ph type="body" sz="quarter" idx="16" hasCustomPrompt="1"/>
          </p:nvPr>
        </p:nvSpPr>
        <p:spPr bwMode="gray">
          <a:xfrm>
            <a:off x="459377" y="355278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6" name="Espace réservé du texte 4"/>
          <p:cNvSpPr>
            <a:spLocks noGrp="1"/>
          </p:cNvSpPr>
          <p:nvPr>
            <p:ph type="body" sz="quarter" idx="17" hasCustomPrompt="1"/>
          </p:nvPr>
        </p:nvSpPr>
        <p:spPr bwMode="gray">
          <a:xfrm>
            <a:off x="2159564" y="3544385"/>
            <a:ext cx="912000" cy="912000"/>
          </a:xfrm>
          <a:prstGeom prst="ellipse">
            <a:avLst/>
          </a:prstGeom>
          <a:solidFill>
            <a:schemeClr val="accent6"/>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7" name="Espace réservé du texte 4"/>
          <p:cNvSpPr>
            <a:spLocks noGrp="1"/>
          </p:cNvSpPr>
          <p:nvPr>
            <p:ph type="body" sz="quarter" idx="18" hasCustomPrompt="1"/>
          </p:nvPr>
        </p:nvSpPr>
        <p:spPr bwMode="gray">
          <a:xfrm>
            <a:off x="459377" y="4637531"/>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2159564" y="4629133"/>
            <a:ext cx="912000" cy="912000"/>
          </a:xfrm>
          <a:prstGeom prst="ellipse">
            <a:avLst/>
          </a:prstGeom>
          <a:solidFill>
            <a:schemeClr val="bg2"/>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9" name="Espace réservé du texte 4"/>
          <p:cNvSpPr>
            <a:spLocks noGrp="1"/>
          </p:cNvSpPr>
          <p:nvPr>
            <p:ph type="body" sz="quarter" idx="20" hasCustomPrompt="1"/>
          </p:nvPr>
        </p:nvSpPr>
        <p:spPr bwMode="gray">
          <a:xfrm>
            <a:off x="4284324"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8" name="Espace réservé du graphique 7"/>
          <p:cNvSpPr>
            <a:spLocks noGrp="1"/>
          </p:cNvSpPr>
          <p:nvPr>
            <p:ph type="chart" sz="quarter" idx="21" hasCustomPrompt="1"/>
          </p:nvPr>
        </p:nvSpPr>
        <p:spPr bwMode="gray">
          <a:xfrm>
            <a:off x="4284324" y="2372884"/>
            <a:ext cx="3624000" cy="3505101"/>
          </a:xfrm>
        </p:spPr>
        <p:txBody>
          <a:bodyPr tIns="540000" anchor="ctr" anchorCtr="0"/>
          <a:lstStyle>
            <a:lvl1pPr>
              <a:defRPr/>
            </a:lvl1pPr>
          </a:lstStyle>
          <a:p>
            <a:r>
              <a:rPr lang="en-US" noProof="0" dirty="0"/>
              <a:t>Graph</a:t>
            </a:r>
          </a:p>
        </p:txBody>
      </p:sp>
      <p:sp>
        <p:nvSpPr>
          <p:cNvPr id="20" name="Espace réservé du texte 4"/>
          <p:cNvSpPr>
            <a:spLocks noGrp="1"/>
          </p:cNvSpPr>
          <p:nvPr>
            <p:ph type="body" sz="quarter" idx="22" hasCustomPrompt="1"/>
          </p:nvPr>
        </p:nvSpPr>
        <p:spPr bwMode="gray">
          <a:xfrm>
            <a:off x="8069456"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21" name="Espace réservé du graphique 7"/>
          <p:cNvSpPr>
            <a:spLocks noGrp="1"/>
          </p:cNvSpPr>
          <p:nvPr>
            <p:ph type="chart" sz="quarter" idx="23" hasCustomPrompt="1"/>
          </p:nvPr>
        </p:nvSpPr>
        <p:spPr bwMode="gray">
          <a:xfrm>
            <a:off x="8069456" y="2372884"/>
            <a:ext cx="3624000" cy="3505101"/>
          </a:xfrm>
        </p:spPr>
        <p:txBody>
          <a:bodyPr tIns="540000" anchor="ctr" anchorCtr="0"/>
          <a:lstStyle/>
          <a:p>
            <a:r>
              <a:rPr lang="en-US" noProof="0" dirty="0"/>
              <a:t>Graph</a:t>
            </a:r>
          </a:p>
        </p:txBody>
      </p:sp>
    </p:spTree>
    <p:extLst>
      <p:ext uri="{BB962C8B-B14F-4D97-AF65-F5344CB8AC3E}">
        <p14:creationId xmlns:p14="http://schemas.microsoft.com/office/powerpoint/2010/main" val="10756871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a:xfrm>
            <a:off x="-4911" y="5587767"/>
            <a:ext cx="478368" cy="452968"/>
          </a:xfrm>
          <a:prstGeom prst="rect">
            <a:avLst/>
          </a:prstGeom>
        </p:spPr>
        <p:txBody>
          <a:bodyPr/>
          <a:lstStyle/>
          <a:p>
            <a:r>
              <a:rPr lang="fr-FR">
                <a:solidFill>
                  <a:prstClr val="black"/>
                </a:solidFill>
              </a:rPr>
              <a:t>Date</a:t>
            </a:r>
            <a:endParaRPr lang="en-US" dirty="0">
              <a:solidFill>
                <a:prstClr val="black"/>
              </a:solidFill>
            </a:endParaRPr>
          </a:p>
        </p:txBody>
      </p:sp>
      <p:sp>
        <p:nvSpPr>
          <p:cNvPr id="12" name="Espace réservé du numéro de diapositive 11"/>
          <p:cNvSpPr>
            <a:spLocks noGrp="1"/>
          </p:cNvSpPr>
          <p:nvPr>
            <p:ph type="sldNum" sz="quarter" idx="11"/>
          </p:nvPr>
        </p:nvSpPr>
        <p:spPr bwMode="gray">
          <a:xfrm>
            <a:off x="-677" y="5252027"/>
            <a:ext cx="576080" cy="335740"/>
          </a:xfrm>
          <a:prstGeom prst="rect">
            <a:avLst/>
          </a:prstGeom>
        </p:spPr>
        <p:txBody>
          <a:bodyPr/>
          <a:lstStyle/>
          <a:p>
            <a:fld id="{733122C9-A0B9-462F-8757-0847AD287B63}" type="slidenum">
              <a:rPr lang="en-US">
                <a:solidFill>
                  <a:prstClr val="black"/>
                </a:solidFill>
              </a:rPr>
              <a:pPr/>
              <a:t>‹N°›</a:t>
            </a:fld>
            <a:endParaRPr lang="en-US" dirty="0">
              <a:solidFill>
                <a:prstClr val="black"/>
              </a:solidFill>
            </a:endParaRPr>
          </a:p>
        </p:txBody>
      </p:sp>
      <p:sp>
        <p:nvSpPr>
          <p:cNvPr id="13" name="Espace réservé du pied de page 12"/>
          <p:cNvSpPr>
            <a:spLocks noGrp="1"/>
          </p:cNvSpPr>
          <p:nvPr>
            <p:ph type="ftr" sz="quarter" idx="12"/>
          </p:nvPr>
        </p:nvSpPr>
        <p:spPr bwMode="gray">
          <a:xfrm>
            <a:off x="680561" y="5252027"/>
            <a:ext cx="9120000" cy="335740"/>
          </a:xfrm>
          <a:prstGeom prst="rect">
            <a:avLst/>
          </a:prstGeom>
        </p:spPr>
        <p:txBody>
          <a:bodyPr/>
          <a:lstStyle/>
          <a:p>
            <a:r>
              <a:rPr lang="en-US">
                <a:solidFill>
                  <a:prstClr val="black"/>
                </a:solidFill>
              </a:rPr>
              <a:t>Presentation title</a:t>
            </a:r>
            <a:endParaRPr lang="en-US" dirty="0">
              <a:solidFill>
                <a:prstClr val="black"/>
              </a:solidFill>
            </a:endParaRPr>
          </a:p>
        </p:txBody>
      </p:sp>
      <p:sp>
        <p:nvSpPr>
          <p:cNvPr id="4" name="Titre 3"/>
          <p:cNvSpPr>
            <a:spLocks noGrp="1"/>
          </p:cNvSpPr>
          <p:nvPr>
            <p:ph type="title" hasCustomPrompt="1"/>
          </p:nvPr>
        </p:nvSpPr>
        <p:spPr bwMode="gray"/>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2556084" y="2409550"/>
            <a:ext cx="1678517" cy="1680633"/>
          </a:xfrm>
          <a:prstGeom prst="ellipse">
            <a:avLst/>
          </a:prstGeom>
          <a:solidFill>
            <a:srgbClr val="DCDC00"/>
          </a:solidFill>
        </p:spPr>
        <p:txBody>
          <a:bodyPr anchor="ctr" anchorCtr="0"/>
          <a:lstStyle>
            <a:lvl1pPr>
              <a:defRPr sz="2933">
                <a:solidFill>
                  <a:schemeClr val="accent4"/>
                </a:solidFill>
              </a:defRPr>
            </a:lvl1pPr>
          </a:lstStyle>
          <a:p>
            <a:pPr lvl="0"/>
            <a:r>
              <a:rPr lang="en-US" noProof="0" dirty="0"/>
              <a:t>+00%</a:t>
            </a:r>
          </a:p>
        </p:txBody>
      </p:sp>
      <p:sp>
        <p:nvSpPr>
          <p:cNvPr id="8" name="Espace réservé du texte 7"/>
          <p:cNvSpPr>
            <a:spLocks noGrp="1"/>
          </p:cNvSpPr>
          <p:nvPr>
            <p:ph type="body" sz="quarter" idx="14" hasCustomPrompt="1"/>
          </p:nvPr>
        </p:nvSpPr>
        <p:spPr bwMode="gray">
          <a:xfrm>
            <a:off x="217151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9" name="Espace réservé du texte 4"/>
          <p:cNvSpPr>
            <a:spLocks noGrp="1"/>
          </p:cNvSpPr>
          <p:nvPr>
            <p:ph type="body" sz="quarter" idx="15" hasCustomPrompt="1"/>
          </p:nvPr>
        </p:nvSpPr>
        <p:spPr bwMode="gray">
          <a:xfrm>
            <a:off x="5238144" y="2409550"/>
            <a:ext cx="1678517" cy="1680633"/>
          </a:xfrm>
          <a:prstGeom prst="ellipse">
            <a:avLst/>
          </a:prstGeom>
          <a:solidFill>
            <a:schemeClr val="bg2"/>
          </a:solidFill>
        </p:spPr>
        <p:txBody>
          <a:bodyPr anchor="ctr" anchorCtr="0"/>
          <a:lstStyle>
            <a:lvl1pPr>
              <a:defRPr sz="2933">
                <a:solidFill>
                  <a:schemeClr val="accent2"/>
                </a:solidFill>
              </a:defRPr>
            </a:lvl1pPr>
          </a:lstStyle>
          <a:p>
            <a:pPr lvl="0"/>
            <a:r>
              <a:rPr lang="en-US" noProof="0" dirty="0"/>
              <a:t>+00%</a:t>
            </a:r>
          </a:p>
        </p:txBody>
      </p:sp>
      <p:sp>
        <p:nvSpPr>
          <p:cNvPr id="10" name="Espace réservé du texte 7"/>
          <p:cNvSpPr>
            <a:spLocks noGrp="1"/>
          </p:cNvSpPr>
          <p:nvPr>
            <p:ph type="body" sz="quarter" idx="16" hasCustomPrompt="1"/>
          </p:nvPr>
        </p:nvSpPr>
        <p:spPr bwMode="gray">
          <a:xfrm>
            <a:off x="485357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7" hasCustomPrompt="1"/>
          </p:nvPr>
        </p:nvSpPr>
        <p:spPr bwMode="gray">
          <a:xfrm>
            <a:off x="7920203" y="2409550"/>
            <a:ext cx="1678517" cy="1680633"/>
          </a:xfrm>
          <a:prstGeom prst="ellipse">
            <a:avLst/>
          </a:prstGeom>
          <a:solidFill>
            <a:schemeClr val="accent5"/>
          </a:solidFill>
        </p:spPr>
        <p:txBody>
          <a:bodyPr anchor="ctr" anchorCtr="0"/>
          <a:lstStyle>
            <a:lvl1pPr>
              <a:defRPr sz="2933">
                <a:solidFill>
                  <a:srgbClr val="DCDC00"/>
                </a:solidFill>
              </a:defRPr>
            </a:lvl1pPr>
          </a:lstStyle>
          <a:p>
            <a:pPr lvl="0"/>
            <a:r>
              <a:rPr lang="en-US" noProof="0" dirty="0"/>
              <a:t>+00%</a:t>
            </a:r>
          </a:p>
        </p:txBody>
      </p:sp>
      <p:sp>
        <p:nvSpPr>
          <p:cNvPr id="15" name="Espace réservé du texte 7"/>
          <p:cNvSpPr>
            <a:spLocks noGrp="1"/>
          </p:cNvSpPr>
          <p:nvPr>
            <p:ph type="body" sz="quarter" idx="18" hasCustomPrompt="1"/>
          </p:nvPr>
        </p:nvSpPr>
        <p:spPr bwMode="gray">
          <a:xfrm>
            <a:off x="7535633"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6223058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Titre et contenu">
    <p:spTree>
      <p:nvGrpSpPr>
        <p:cNvPr id="1" name=""/>
        <p:cNvGrpSpPr/>
        <p:nvPr/>
      </p:nvGrpSpPr>
      <p:grpSpPr>
        <a:xfrm>
          <a:off x="0" y="0"/>
          <a:ext cx="0" cy="0"/>
          <a:chOff x="0" y="0"/>
          <a:chExt cx="0" cy="0"/>
        </a:xfrm>
      </p:grpSpPr>
      <p:sp>
        <p:nvSpPr>
          <p:cNvPr id="2" name="Rectangle à coins arrondis 1"/>
          <p:cNvSpPr/>
          <p:nvPr userDrawn="1"/>
        </p:nvSpPr>
        <p:spPr bwMode="gray">
          <a:xfrm>
            <a:off x="2096041" y="2639407"/>
            <a:ext cx="1248000" cy="1584000"/>
          </a:xfrm>
          <a:prstGeom prst="roundRect">
            <a:avLst>
              <a:gd name="adj" fmla="val 231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11" name="Espace réservé de la date 10"/>
          <p:cNvSpPr>
            <a:spLocks noGrp="1"/>
          </p:cNvSpPr>
          <p:nvPr>
            <p:ph type="dt" sz="half" idx="10"/>
          </p:nvPr>
        </p:nvSpPr>
        <p:spPr bwMode="gray">
          <a:xfrm>
            <a:off x="-4911" y="5587767"/>
            <a:ext cx="478368" cy="452968"/>
          </a:xfrm>
          <a:prstGeom prst="rect">
            <a:avLst/>
          </a:prstGeom>
        </p:spPr>
        <p:txBody>
          <a:bodyPr/>
          <a:lstStyle/>
          <a:p>
            <a:r>
              <a:rPr lang="fr-FR">
                <a:solidFill>
                  <a:prstClr val="black"/>
                </a:solidFill>
              </a:rPr>
              <a:t>Date</a:t>
            </a:r>
            <a:endParaRPr lang="en-US" dirty="0">
              <a:solidFill>
                <a:prstClr val="black"/>
              </a:solidFill>
            </a:endParaRPr>
          </a:p>
        </p:txBody>
      </p:sp>
      <p:sp>
        <p:nvSpPr>
          <p:cNvPr id="12" name="Espace réservé du numéro de diapositive 11"/>
          <p:cNvSpPr>
            <a:spLocks noGrp="1"/>
          </p:cNvSpPr>
          <p:nvPr>
            <p:ph type="sldNum" sz="quarter" idx="11"/>
          </p:nvPr>
        </p:nvSpPr>
        <p:spPr bwMode="gray">
          <a:xfrm>
            <a:off x="-677" y="5252027"/>
            <a:ext cx="576080" cy="335740"/>
          </a:xfrm>
          <a:prstGeom prst="rect">
            <a:avLst/>
          </a:prstGeom>
        </p:spPr>
        <p:txBody>
          <a:bodyPr/>
          <a:lstStyle/>
          <a:p>
            <a:fld id="{733122C9-A0B9-462F-8757-0847AD287B63}" type="slidenum">
              <a:rPr lang="en-US">
                <a:solidFill>
                  <a:prstClr val="black"/>
                </a:solidFill>
              </a:rPr>
              <a:pPr/>
              <a:t>‹N°›</a:t>
            </a:fld>
            <a:endParaRPr lang="en-US" dirty="0">
              <a:solidFill>
                <a:prstClr val="black"/>
              </a:solidFill>
            </a:endParaRPr>
          </a:p>
        </p:txBody>
      </p:sp>
      <p:sp>
        <p:nvSpPr>
          <p:cNvPr id="13" name="Espace réservé du pied de page 12"/>
          <p:cNvSpPr>
            <a:spLocks noGrp="1"/>
          </p:cNvSpPr>
          <p:nvPr>
            <p:ph type="ftr" sz="quarter" idx="12"/>
          </p:nvPr>
        </p:nvSpPr>
        <p:spPr bwMode="gray">
          <a:xfrm>
            <a:off x="680561" y="5252027"/>
            <a:ext cx="9120000" cy="335740"/>
          </a:xfrm>
          <a:prstGeom prst="rect">
            <a:avLst/>
          </a:prstGeom>
        </p:spPr>
        <p:txBody>
          <a:bodyPr/>
          <a:lstStyle/>
          <a:p>
            <a:r>
              <a:rPr lang="en-US">
                <a:solidFill>
                  <a:prstClr val="black"/>
                </a:solidFill>
              </a:rPr>
              <a:t>Presentation title</a:t>
            </a:r>
            <a:endParaRPr lang="en-US" dirty="0">
              <a:solidFill>
                <a:prstClr val="black"/>
              </a:solidFill>
            </a:endParaRPr>
          </a:p>
        </p:txBody>
      </p:sp>
      <p:sp>
        <p:nvSpPr>
          <p:cNvPr id="4" name="Titre 3"/>
          <p:cNvSpPr>
            <a:spLocks noGrp="1"/>
          </p:cNvSpPr>
          <p:nvPr>
            <p:ph type="title" hasCustomPrompt="1"/>
          </p:nvPr>
        </p:nvSpPr>
        <p:spPr bwMode="gray">
          <a:xfrm>
            <a:off x="2167980" y="3099312"/>
            <a:ext cx="1104123" cy="1056000"/>
          </a:xfrm>
          <a:solidFill>
            <a:schemeClr val="bg1"/>
          </a:solidFill>
        </p:spPr>
        <p:txBody>
          <a:bodyPr anchor="ctr" anchorCtr="0"/>
          <a:lstStyle>
            <a:lvl1pPr algn="ctr">
              <a:defRPr sz="6000"/>
            </a:lvl1pPr>
          </a:lstStyle>
          <a:p>
            <a:r>
              <a:rPr lang="en-US" noProof="0" dirty="0"/>
              <a:t>00</a:t>
            </a:r>
          </a:p>
        </p:txBody>
      </p:sp>
      <p:sp>
        <p:nvSpPr>
          <p:cNvPr id="5" name="Espace réservé du texte 4"/>
          <p:cNvSpPr>
            <a:spLocks noGrp="1"/>
          </p:cNvSpPr>
          <p:nvPr>
            <p:ph type="body" sz="quarter" idx="13" hasCustomPrompt="1"/>
          </p:nvPr>
        </p:nvSpPr>
        <p:spPr bwMode="gray">
          <a:xfrm>
            <a:off x="6096000" y="1911301"/>
            <a:ext cx="4176184" cy="3966683"/>
          </a:xfrm>
        </p:spPr>
        <p:txBody>
          <a:bodyPr/>
          <a:lstStyle>
            <a:lvl1pPr>
              <a:spcAft>
                <a:spcPts val="933"/>
              </a:spcAft>
              <a:defRPr sz="1333" b="1" cap="all" baseline="0">
                <a:solidFill>
                  <a:schemeClr val="accent5"/>
                </a:solidFill>
              </a:defRPr>
            </a:lvl1pPr>
            <a:lvl2pPr marL="0" indent="0">
              <a:buNone/>
              <a:defRPr sz="1333"/>
            </a:lvl2pPr>
            <a:lvl3pPr>
              <a:defRPr sz="1333"/>
            </a:lvl3pPr>
            <a:lvl4pPr>
              <a:defRPr sz="1333"/>
            </a:lvl4pPr>
            <a:lvl5pPr>
              <a:defRPr sz="1333"/>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Tree>
    <p:extLst>
      <p:ext uri="{BB962C8B-B14F-4D97-AF65-F5344CB8AC3E}">
        <p14:creationId xmlns:p14="http://schemas.microsoft.com/office/powerpoint/2010/main" val="23561446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p:bg bwMode="gray">
      <p:bgPr>
        <a:solidFill>
          <a:schemeClr val="tx2"/>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4911" y="5587767"/>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pic>
        <p:nvPicPr>
          <p:cNvPr id="8" name="Image 7"/>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4054126" y="2662756"/>
            <a:ext cx="3924000" cy="568413"/>
          </a:xfrm>
          <a:prstGeom prst="rect">
            <a:avLst/>
          </a:prstGeom>
        </p:spPr>
      </p:pic>
    </p:spTree>
    <p:extLst>
      <p:ext uri="{BB962C8B-B14F-4D97-AF65-F5344CB8AC3E}">
        <p14:creationId xmlns:p14="http://schemas.microsoft.com/office/powerpoint/2010/main" val="1550962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
        <p:nvSpPr>
          <p:cNvPr id="17" name="Text Placeholder 6">
            <a:extLst>
              <a:ext uri="{FF2B5EF4-FFF2-40B4-BE49-F238E27FC236}">
                <a16:creationId xmlns:a16="http://schemas.microsoft.com/office/drawing/2014/main" id="{488538A9-204D-4DE4-B3BE-1A44768DE4E4}"/>
              </a:ext>
            </a:extLst>
          </p:cNvPr>
          <p:cNvSpPr>
            <a:spLocks noGrp="1"/>
          </p:cNvSpPr>
          <p:nvPr>
            <p:ph type="body" sz="quarter" idx="13"/>
          </p:nvPr>
        </p:nvSpPr>
        <p:spPr>
          <a:xfrm>
            <a:off x="471489" y="484205"/>
            <a:ext cx="11249025" cy="515257"/>
          </a:xfrm>
        </p:spPr>
        <p:txBody>
          <a:bodyPr anchor="ctr">
            <a:noAutofit/>
          </a:bodyPr>
          <a:lstStyle>
            <a:lvl1pPr marL="0" indent="0">
              <a:buNone/>
              <a:defRPr lang="en-US" sz="3200" kern="1200" dirty="0" smtClean="0">
                <a:solidFill>
                  <a:srgbClr val="424C67"/>
                </a:solidFill>
                <a:latin typeface="+mj-lt"/>
                <a:ea typeface="+mn-ea"/>
                <a:cs typeface="+mn-cs"/>
              </a:defRPr>
            </a:lvl1pPr>
          </a:lstStyle>
          <a:p>
            <a:pPr lvl="0"/>
            <a:r>
              <a:rPr lang="en-US" dirty="0"/>
              <a:t>Click to edit Master text styles</a:t>
            </a:r>
          </a:p>
        </p:txBody>
      </p:sp>
      <p:sp>
        <p:nvSpPr>
          <p:cNvPr id="34" name="Text Placeholder 6">
            <a:extLst>
              <a:ext uri="{FF2B5EF4-FFF2-40B4-BE49-F238E27FC236}">
                <a16:creationId xmlns:a16="http://schemas.microsoft.com/office/drawing/2014/main" id="{C413B5E7-D727-4560-886C-8E633A129353}"/>
              </a:ext>
            </a:extLst>
          </p:cNvPr>
          <p:cNvSpPr>
            <a:spLocks noGrp="1"/>
          </p:cNvSpPr>
          <p:nvPr>
            <p:ph type="body" sz="quarter" idx="10"/>
          </p:nvPr>
        </p:nvSpPr>
        <p:spPr>
          <a:xfrm>
            <a:off x="471489" y="1382193"/>
            <a:ext cx="11249025" cy="329655"/>
          </a:xfrm>
        </p:spPr>
        <p:txBody>
          <a:bodyPr>
            <a:normAutofit/>
          </a:bodyPr>
          <a:lstStyle>
            <a:lvl1pPr marL="0" indent="0">
              <a:buNone/>
              <a:defRPr lang="en-US" sz="2000" kern="1200" dirty="0" smtClean="0">
                <a:solidFill>
                  <a:srgbClr val="11B4BC"/>
                </a:solidFill>
                <a:latin typeface="AvenirNext LT Pro Regular" panose="020B0504020202020204" pitchFamily="34" charset="0"/>
                <a:ea typeface="+mn-ea"/>
                <a:cs typeface="+mn-cs"/>
              </a:defRPr>
            </a:lvl1pPr>
          </a:lstStyle>
          <a:p>
            <a:pPr lvl="0"/>
            <a:r>
              <a:rPr lang="en-US" dirty="0"/>
              <a:t>Click to edit Master text styles</a:t>
            </a:r>
          </a:p>
        </p:txBody>
      </p:sp>
      <p:sp>
        <p:nvSpPr>
          <p:cNvPr id="21" name="Oval 20">
            <a:extLst>
              <a:ext uri="{FF2B5EF4-FFF2-40B4-BE49-F238E27FC236}">
                <a16:creationId xmlns:a16="http://schemas.microsoft.com/office/drawing/2014/main" id="{3DDB1C93-4F83-4078-8E45-7B1D08FFD3C0}"/>
              </a:ext>
            </a:extLst>
          </p:cNvPr>
          <p:cNvSpPr/>
          <p:nvPr userDrawn="1"/>
        </p:nvSpPr>
        <p:spPr>
          <a:xfrm>
            <a:off x="10116108" y="2094579"/>
            <a:ext cx="1656000" cy="1656000"/>
          </a:xfrm>
          <a:prstGeom prst="ellipse">
            <a:avLst/>
          </a:prstGeom>
          <a:noFill/>
          <a:ln w="1714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solidFill>
                <a:srgbClr val="FFFFFF"/>
              </a:solidFill>
            </a:endParaRPr>
          </a:p>
        </p:txBody>
      </p:sp>
      <p:sp>
        <p:nvSpPr>
          <p:cNvPr id="23" name="Text Placeholder 6">
            <a:extLst>
              <a:ext uri="{FF2B5EF4-FFF2-40B4-BE49-F238E27FC236}">
                <a16:creationId xmlns:a16="http://schemas.microsoft.com/office/drawing/2014/main" id="{33689D34-31F9-4129-891D-0132C7D62055}"/>
              </a:ext>
            </a:extLst>
          </p:cNvPr>
          <p:cNvSpPr>
            <a:spLocks noGrp="1"/>
          </p:cNvSpPr>
          <p:nvPr>
            <p:ph type="body" sz="quarter" idx="14" hasCustomPrompt="1"/>
          </p:nvPr>
        </p:nvSpPr>
        <p:spPr>
          <a:xfrm>
            <a:off x="10269557" y="2874013"/>
            <a:ext cx="1388401" cy="537867"/>
          </a:xfrm>
        </p:spPr>
        <p:txBody>
          <a:bodyPr vert="horz" lIns="91440" tIns="45720" rIns="91440" bIns="45720" rtlCol="0" anchor="ctr">
            <a:noAutofit/>
          </a:bodyPr>
          <a:lstStyle>
            <a:lvl1pPr marL="0" indent="0" algn="ctr">
              <a:buNone/>
              <a:defRPr lang="en-US" sz="1200" b="0" kern="1200" dirty="0" smtClean="0">
                <a:solidFill>
                  <a:schemeClr val="bg1"/>
                </a:solidFill>
                <a:latin typeface="AvenirNext LT Pro Regular" panose="020B0504020202020204" pitchFamily="34" charset="0"/>
                <a:ea typeface="+mn-ea"/>
                <a:cs typeface="+mn-cs"/>
              </a:defRPr>
            </a:lvl1pPr>
          </a:lstStyle>
          <a:p>
            <a:pPr marL="228594" lvl="0" indent="-228594"/>
            <a:r>
              <a:rPr lang="en-US" dirty="0"/>
              <a:t>CLICK</a:t>
            </a:r>
          </a:p>
        </p:txBody>
      </p:sp>
      <p:sp>
        <p:nvSpPr>
          <p:cNvPr id="24" name="Text Placeholder 6">
            <a:extLst>
              <a:ext uri="{FF2B5EF4-FFF2-40B4-BE49-F238E27FC236}">
                <a16:creationId xmlns:a16="http://schemas.microsoft.com/office/drawing/2014/main" id="{9D950A88-6E90-42DE-A9C9-BA491CE867FA}"/>
              </a:ext>
            </a:extLst>
          </p:cNvPr>
          <p:cNvSpPr>
            <a:spLocks noGrp="1"/>
          </p:cNvSpPr>
          <p:nvPr>
            <p:ph type="body" sz="quarter" idx="18" hasCustomPrompt="1"/>
          </p:nvPr>
        </p:nvSpPr>
        <p:spPr>
          <a:xfrm>
            <a:off x="10276666" y="2520772"/>
            <a:ext cx="1376245" cy="591704"/>
          </a:xfrm>
        </p:spPr>
        <p:txBody>
          <a:bodyPr vert="horz" lIns="91440" tIns="45720" rIns="91440" bIns="45720" rtlCol="0" anchor="ctr">
            <a:noAutofit/>
          </a:bodyPr>
          <a:lstStyle>
            <a:lvl1pPr marL="0" indent="0" algn="ctr">
              <a:buNone/>
              <a:defRPr lang="en-US" sz="2400" b="1" kern="1200" dirty="0" smtClean="0">
                <a:solidFill>
                  <a:srgbClr val="11B4BC"/>
                </a:solidFill>
                <a:latin typeface="AvenirNext LT Pro Regular" panose="020B0504020202020204" pitchFamily="34" charset="0"/>
                <a:ea typeface="+mn-ea"/>
                <a:cs typeface="+mn-cs"/>
              </a:defRPr>
            </a:lvl1pPr>
          </a:lstStyle>
          <a:p>
            <a:pPr marL="228594" lvl="0" indent="-228594"/>
            <a:r>
              <a:rPr lang="en-US" dirty="0"/>
              <a:t>CLICK</a:t>
            </a:r>
          </a:p>
        </p:txBody>
      </p:sp>
      <p:sp>
        <p:nvSpPr>
          <p:cNvPr id="25" name="Oval 24">
            <a:extLst>
              <a:ext uri="{FF2B5EF4-FFF2-40B4-BE49-F238E27FC236}">
                <a16:creationId xmlns:a16="http://schemas.microsoft.com/office/drawing/2014/main" id="{8396FDE7-57C2-475B-A859-0AA441390727}"/>
              </a:ext>
            </a:extLst>
          </p:cNvPr>
          <p:cNvSpPr/>
          <p:nvPr userDrawn="1"/>
        </p:nvSpPr>
        <p:spPr>
          <a:xfrm>
            <a:off x="10116108" y="4211245"/>
            <a:ext cx="1656000" cy="1656000"/>
          </a:xfrm>
          <a:prstGeom prst="ellipse">
            <a:avLst/>
          </a:prstGeom>
          <a:noFill/>
          <a:ln w="1714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solidFill>
                <a:srgbClr val="FFFFFF"/>
              </a:solidFill>
            </a:endParaRPr>
          </a:p>
        </p:txBody>
      </p:sp>
      <p:sp>
        <p:nvSpPr>
          <p:cNvPr id="27" name="Text Placeholder 6">
            <a:extLst>
              <a:ext uri="{FF2B5EF4-FFF2-40B4-BE49-F238E27FC236}">
                <a16:creationId xmlns:a16="http://schemas.microsoft.com/office/drawing/2014/main" id="{542CA4A9-CA2F-4A56-8002-D118EDE708DE}"/>
              </a:ext>
            </a:extLst>
          </p:cNvPr>
          <p:cNvSpPr>
            <a:spLocks noGrp="1"/>
          </p:cNvSpPr>
          <p:nvPr>
            <p:ph type="body" sz="quarter" idx="19" hasCustomPrompt="1"/>
          </p:nvPr>
        </p:nvSpPr>
        <p:spPr>
          <a:xfrm>
            <a:off x="10269557" y="4956813"/>
            <a:ext cx="1388401" cy="537867"/>
          </a:xfrm>
        </p:spPr>
        <p:txBody>
          <a:bodyPr vert="horz" lIns="91440" tIns="45720" rIns="91440" bIns="45720" rtlCol="0" anchor="ctr">
            <a:noAutofit/>
          </a:bodyPr>
          <a:lstStyle>
            <a:lvl1pPr marL="0" indent="0" algn="ctr">
              <a:buNone/>
              <a:defRPr lang="en-US" sz="1200" b="0" kern="1200" dirty="0" smtClean="0">
                <a:solidFill>
                  <a:schemeClr val="bg1"/>
                </a:solidFill>
                <a:latin typeface="AvenirNext LT Pro Regular" panose="020B0504020202020204" pitchFamily="34" charset="0"/>
                <a:ea typeface="+mn-ea"/>
                <a:cs typeface="+mn-cs"/>
              </a:defRPr>
            </a:lvl1pPr>
          </a:lstStyle>
          <a:p>
            <a:pPr marL="228594" lvl="0" indent="-228594"/>
            <a:r>
              <a:rPr lang="en-US" dirty="0"/>
              <a:t>CLICK</a:t>
            </a:r>
          </a:p>
        </p:txBody>
      </p:sp>
      <p:sp>
        <p:nvSpPr>
          <p:cNvPr id="28" name="Text Placeholder 6">
            <a:extLst>
              <a:ext uri="{FF2B5EF4-FFF2-40B4-BE49-F238E27FC236}">
                <a16:creationId xmlns:a16="http://schemas.microsoft.com/office/drawing/2014/main" id="{8CD7EE9F-834C-4523-BC74-92B75D2B2826}"/>
              </a:ext>
            </a:extLst>
          </p:cNvPr>
          <p:cNvSpPr>
            <a:spLocks noGrp="1"/>
          </p:cNvSpPr>
          <p:nvPr>
            <p:ph type="body" sz="quarter" idx="20" hasCustomPrompt="1"/>
          </p:nvPr>
        </p:nvSpPr>
        <p:spPr>
          <a:xfrm>
            <a:off x="10276666" y="4637439"/>
            <a:ext cx="1376245" cy="591704"/>
          </a:xfrm>
        </p:spPr>
        <p:txBody>
          <a:bodyPr vert="horz" lIns="91440" tIns="45720" rIns="91440" bIns="45720" rtlCol="0" anchor="ctr">
            <a:noAutofit/>
          </a:bodyPr>
          <a:lstStyle>
            <a:lvl1pPr marL="0" indent="0" algn="ctr">
              <a:buNone/>
              <a:defRPr lang="en-US" sz="2400" b="1" kern="1200" dirty="0" smtClean="0">
                <a:solidFill>
                  <a:srgbClr val="11B4BC"/>
                </a:solidFill>
                <a:latin typeface="AvenirNext LT Pro Regular" panose="020B0504020202020204" pitchFamily="34" charset="0"/>
                <a:ea typeface="+mn-ea"/>
                <a:cs typeface="+mn-cs"/>
              </a:defRPr>
            </a:lvl1pPr>
          </a:lstStyle>
          <a:p>
            <a:pPr marL="228594" lvl="0" indent="-228594"/>
            <a:r>
              <a:rPr lang="en-US" dirty="0"/>
              <a:t>CLICK</a:t>
            </a:r>
          </a:p>
        </p:txBody>
      </p:sp>
    </p:spTree>
    <p:extLst>
      <p:ext uri="{BB962C8B-B14F-4D97-AF65-F5344CB8AC3E}">
        <p14:creationId xmlns:p14="http://schemas.microsoft.com/office/powerpoint/2010/main" val="25975525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 &amp; Visual">
    <p:spTree>
      <p:nvGrpSpPr>
        <p:cNvPr id="1" name=""/>
        <p:cNvGrpSpPr/>
        <p:nvPr/>
      </p:nvGrpSpPr>
      <p:grpSpPr>
        <a:xfrm>
          <a:off x="0" y="0"/>
          <a:ext cx="0" cy="0"/>
          <a:chOff x="0" y="0"/>
          <a:chExt cx="0" cy="0"/>
        </a:xfrm>
      </p:grpSpPr>
      <p:sp>
        <p:nvSpPr>
          <p:cNvPr id="9" name="Espace réservé du texte 8"/>
          <p:cNvSpPr>
            <a:spLocks noGrp="1"/>
          </p:cNvSpPr>
          <p:nvPr>
            <p:ph type="body" sz="quarter" idx="20" hasCustomPrompt="1"/>
          </p:nvPr>
        </p:nvSpPr>
        <p:spPr>
          <a:xfrm>
            <a:off x="0" y="0"/>
            <a:ext cx="12192000" cy="3552000"/>
          </a:xfrm>
          <a:solidFill>
            <a:srgbClr val="FFCD1E"/>
          </a:solidFill>
          <a:ln>
            <a:solidFill>
              <a:schemeClr val="bg1">
                <a:alpha val="0"/>
              </a:schemeClr>
            </a:solidFill>
          </a:ln>
        </p:spPr>
        <p:txBody>
          <a:bodyPr/>
          <a:lstStyle>
            <a:lvl1pPr>
              <a:defRPr sz="133" baseline="0">
                <a:solidFill>
                  <a:schemeClr val="bg1">
                    <a:alpha val="0"/>
                  </a:schemeClr>
                </a:solidFill>
              </a:defRPr>
            </a:lvl1pPr>
          </a:lstStyle>
          <a:p>
            <a:pPr lvl="0"/>
            <a:r>
              <a:rPr lang="en-US" noProof="0" dirty="0"/>
              <a:t> </a:t>
            </a:r>
          </a:p>
        </p:txBody>
      </p:sp>
      <p:sp>
        <p:nvSpPr>
          <p:cNvPr id="19" name="Espace réservé pour une image  4"/>
          <p:cNvSpPr>
            <a:spLocks noGrp="1"/>
          </p:cNvSpPr>
          <p:nvPr>
            <p:ph type="pic" sz="quarter" idx="14" hasCustomPrompt="1"/>
          </p:nvPr>
        </p:nvSpPr>
        <p:spPr bwMode="gray">
          <a:xfrm>
            <a:off x="1487488" y="1273333"/>
            <a:ext cx="1152000" cy="1152000"/>
          </a:xfrm>
        </p:spPr>
        <p:txBody>
          <a:bodyPr anchor="ctr" anchorCtr="0"/>
          <a:lstStyle>
            <a:lvl1pPr>
              <a:defRPr sz="1333"/>
            </a:lvl1pPr>
          </a:lstStyle>
          <a:p>
            <a:r>
              <a:rPr lang="en-US" noProof="0" dirty="0"/>
              <a:t>Select the icon to insert a picture</a:t>
            </a:r>
          </a:p>
        </p:txBody>
      </p:sp>
      <p:sp>
        <p:nvSpPr>
          <p:cNvPr id="20" name="Espace réservé pour une image  4"/>
          <p:cNvSpPr>
            <a:spLocks noGrp="1"/>
          </p:cNvSpPr>
          <p:nvPr>
            <p:ph type="pic" sz="quarter" idx="15" hasCustomPrompt="1"/>
          </p:nvPr>
        </p:nvSpPr>
        <p:spPr bwMode="gray">
          <a:xfrm>
            <a:off x="9495340" y="1273333"/>
            <a:ext cx="1152000" cy="1152000"/>
          </a:xfrm>
        </p:spPr>
        <p:txBody>
          <a:bodyPr anchor="ctr" anchorCtr="0"/>
          <a:lstStyle>
            <a:lvl1pPr>
              <a:defRPr sz="1333"/>
            </a:lvl1pPr>
          </a:lstStyle>
          <a:p>
            <a:r>
              <a:rPr lang="en-US" noProof="0" dirty="0"/>
              <a:t>Select the icon to insert a picture</a:t>
            </a:r>
          </a:p>
        </p:txBody>
      </p:sp>
      <p:sp>
        <p:nvSpPr>
          <p:cNvPr id="21" name="Espace réservé pour une image  4"/>
          <p:cNvSpPr>
            <a:spLocks noGrp="1"/>
          </p:cNvSpPr>
          <p:nvPr>
            <p:ph type="pic" sz="quarter" idx="16" hasCustomPrompt="1"/>
          </p:nvPr>
        </p:nvSpPr>
        <p:spPr bwMode="gray">
          <a:xfrm>
            <a:off x="3089059" y="1273333"/>
            <a:ext cx="1152000" cy="1152000"/>
          </a:xfrm>
        </p:spPr>
        <p:txBody>
          <a:bodyPr anchor="ctr" anchorCtr="0"/>
          <a:lstStyle>
            <a:lvl1pPr>
              <a:defRPr sz="1333"/>
            </a:lvl1pPr>
          </a:lstStyle>
          <a:p>
            <a:r>
              <a:rPr lang="en-US" noProof="0" dirty="0"/>
              <a:t>Select the icon to insert a picture</a:t>
            </a:r>
          </a:p>
        </p:txBody>
      </p:sp>
      <p:sp>
        <p:nvSpPr>
          <p:cNvPr id="22" name="Espace réservé pour une image  4"/>
          <p:cNvSpPr>
            <a:spLocks noGrp="1"/>
          </p:cNvSpPr>
          <p:nvPr>
            <p:ph type="pic" sz="quarter" idx="17" hasCustomPrompt="1"/>
          </p:nvPr>
        </p:nvSpPr>
        <p:spPr bwMode="gray">
          <a:xfrm>
            <a:off x="4690629" y="1273333"/>
            <a:ext cx="1152000" cy="1152000"/>
          </a:xfrm>
        </p:spPr>
        <p:txBody>
          <a:bodyPr anchor="ctr" anchorCtr="0"/>
          <a:lstStyle>
            <a:lvl1pPr>
              <a:defRPr sz="1333"/>
            </a:lvl1pPr>
          </a:lstStyle>
          <a:p>
            <a:r>
              <a:rPr lang="en-US" noProof="0" dirty="0"/>
              <a:t>Select the icon to insert a picture</a:t>
            </a:r>
          </a:p>
        </p:txBody>
      </p:sp>
      <p:sp>
        <p:nvSpPr>
          <p:cNvPr id="23" name="Espace réservé pour une image  4"/>
          <p:cNvSpPr>
            <a:spLocks noGrp="1"/>
          </p:cNvSpPr>
          <p:nvPr>
            <p:ph type="pic" sz="quarter" idx="18" hasCustomPrompt="1"/>
          </p:nvPr>
        </p:nvSpPr>
        <p:spPr bwMode="gray">
          <a:xfrm>
            <a:off x="6292200" y="1273333"/>
            <a:ext cx="1152000" cy="1152000"/>
          </a:xfrm>
        </p:spPr>
        <p:txBody>
          <a:bodyPr anchor="ctr" anchorCtr="0"/>
          <a:lstStyle>
            <a:lvl1pPr>
              <a:defRPr sz="1333"/>
            </a:lvl1pPr>
          </a:lstStyle>
          <a:p>
            <a:r>
              <a:rPr lang="en-US" noProof="0" dirty="0"/>
              <a:t>Select the icon to insert a picture</a:t>
            </a:r>
          </a:p>
        </p:txBody>
      </p:sp>
      <p:sp>
        <p:nvSpPr>
          <p:cNvPr id="24" name="Espace réservé pour une image  4"/>
          <p:cNvSpPr>
            <a:spLocks noGrp="1"/>
          </p:cNvSpPr>
          <p:nvPr>
            <p:ph type="pic" sz="quarter" idx="19" hasCustomPrompt="1"/>
          </p:nvPr>
        </p:nvSpPr>
        <p:spPr bwMode="gray">
          <a:xfrm>
            <a:off x="7893771" y="1273333"/>
            <a:ext cx="1152000" cy="1152000"/>
          </a:xfrm>
        </p:spPr>
        <p:txBody>
          <a:bodyPr anchor="ctr" anchorCtr="0"/>
          <a:lstStyle>
            <a:lvl1pPr>
              <a:defRPr sz="1333"/>
            </a:lvl1pPr>
          </a:lstStyle>
          <a:p>
            <a:r>
              <a:rPr lang="en-US" noProof="0" dirty="0"/>
              <a:t>Select the icon to insert a picture</a:t>
            </a:r>
          </a:p>
        </p:txBody>
      </p:sp>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a:xfrm>
            <a:off x="-4911" y="5587767"/>
            <a:ext cx="478368" cy="452968"/>
          </a:xfrm>
          <a:prstGeom prst="rect">
            <a:avLst/>
          </a:prstGeom>
        </p:spPr>
        <p:txBody>
          <a:bodyPr/>
          <a:lstStyle>
            <a:lvl1pPr>
              <a:defRPr sz="133">
                <a:solidFill>
                  <a:schemeClr val="bg1">
                    <a:alpha val="0"/>
                  </a:schemeClr>
                </a:solidFill>
              </a:defRPr>
            </a:lvl1pPr>
          </a:lstStyle>
          <a:p>
            <a:r>
              <a:rPr lang="en-US" dirty="0">
                <a:solidFill>
                  <a:srgbClr val="FFFFFF">
                    <a:alpha val="0"/>
                  </a:srgbClr>
                </a:solidFill>
              </a:rPr>
              <a:t>Date</a:t>
            </a:r>
          </a:p>
        </p:txBody>
      </p:sp>
      <p:sp>
        <p:nvSpPr>
          <p:cNvPr id="5"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dirty="0">
                <a:solidFill>
                  <a:srgbClr val="FFFFFF">
                    <a:alpha val="0"/>
                  </a:srgbClr>
                </a:solidFill>
              </a:rPr>
              <a:t>Presentation title</a:t>
            </a:r>
          </a:p>
        </p:txBody>
      </p:sp>
      <p:sp>
        <p:nvSpPr>
          <p:cNvPr id="6"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8"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pic>
        <p:nvPicPr>
          <p:cNvPr id="15" name="Imag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83157" y="6197279"/>
            <a:ext cx="2225686" cy="301487"/>
          </a:xfrm>
          <a:prstGeom prst="rect">
            <a:avLst/>
          </a:prstGeom>
        </p:spPr>
      </p:pic>
    </p:spTree>
    <p:extLst>
      <p:ext uri="{BB962C8B-B14F-4D97-AF65-F5344CB8AC3E}">
        <p14:creationId xmlns:p14="http://schemas.microsoft.com/office/powerpoint/2010/main" val="12364777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4_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239349" y="274639"/>
            <a:ext cx="11617291" cy="466063"/>
          </a:xfrm>
          <a:prstGeom prst="rect">
            <a:avLst/>
          </a:prstGeom>
        </p:spPr>
        <p:txBody>
          <a:bodyPr/>
          <a:lstStyle>
            <a:lvl1pPr>
              <a:defRPr baseline="0"/>
            </a:lvl1pPr>
          </a:lstStyle>
          <a:p>
            <a:r>
              <a:rPr lang="fr-FR" dirty="0"/>
              <a:t>MODIFIEZ LE TITRE DE LA PAGE</a:t>
            </a:r>
          </a:p>
        </p:txBody>
      </p:sp>
      <p:sp>
        <p:nvSpPr>
          <p:cNvPr id="3" name="Espace réservé du contenu 2"/>
          <p:cNvSpPr>
            <a:spLocks noGrp="1"/>
          </p:cNvSpPr>
          <p:nvPr>
            <p:ph idx="1"/>
          </p:nvPr>
        </p:nvSpPr>
        <p:spPr/>
        <p:txBody>
          <a:bodyPr/>
          <a:lstStyle>
            <a:lvl3pPr>
              <a:defRPr>
                <a:solidFill>
                  <a:srgbClr val="29385E"/>
                </a:solidFill>
              </a:defRPr>
            </a:lvl3pPr>
            <a:lvl4pPr>
              <a:defRPr>
                <a:solidFill>
                  <a:srgbClr val="ACA39A"/>
                </a:solidFill>
              </a:defRPr>
            </a:lvl4pPr>
            <a:lvl5pPr marL="2438339" indent="0">
              <a:buNone/>
              <a:defRPr>
                <a:solidFill>
                  <a:srgbClr val="ACA39A"/>
                </a:solidFill>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cxnSp>
        <p:nvCxnSpPr>
          <p:cNvPr id="7" name="Connecteur droit 6"/>
          <p:cNvCxnSpPr/>
          <p:nvPr userDrawn="1"/>
        </p:nvCxnSpPr>
        <p:spPr>
          <a:xfrm>
            <a:off x="395818" y="740701"/>
            <a:ext cx="11460823" cy="0"/>
          </a:xfrm>
          <a:prstGeom prst="line">
            <a:avLst/>
          </a:prstGeom>
          <a:ln w="9525">
            <a:solidFill>
              <a:srgbClr val="83786F"/>
            </a:solidFill>
          </a:ln>
        </p:spPr>
        <p:style>
          <a:lnRef idx="1">
            <a:schemeClr val="accent5"/>
          </a:lnRef>
          <a:fillRef idx="0">
            <a:schemeClr val="accent5"/>
          </a:fillRef>
          <a:effectRef idx="0">
            <a:schemeClr val="accent5"/>
          </a:effectRef>
          <a:fontRef idx="minor">
            <a:schemeClr val="tx1"/>
          </a:fontRef>
        </p:style>
      </p:cxnSp>
      <p:sp>
        <p:nvSpPr>
          <p:cNvPr id="9" name="Espace réservé du numéro de diapositive 1"/>
          <p:cNvSpPr>
            <a:spLocks noGrp="1"/>
          </p:cNvSpPr>
          <p:nvPr>
            <p:ph type="sldNum" sz="quarter" idx="14"/>
          </p:nvPr>
        </p:nvSpPr>
        <p:spPr>
          <a:xfrm>
            <a:off x="9393662" y="6309320"/>
            <a:ext cx="2558989" cy="384043"/>
          </a:xfrm>
          <a:prstGeom prst="rect">
            <a:avLst/>
          </a:prstGeom>
        </p:spPr>
        <p:txBody>
          <a:bodyPr/>
          <a:lstStyle/>
          <a:p>
            <a:fld id="{0F93E2AF-52FA-49AE-99E6-1B1ECCFCFE2D}" type="slidenum">
              <a:rPr lang="fr-FR">
                <a:solidFill>
                  <a:prstClr val="black"/>
                </a:solidFill>
              </a:rPr>
              <a:pPr/>
              <a:t>‹N°›</a:t>
            </a:fld>
            <a:endParaRPr lang="fr-FR" dirty="0">
              <a:solidFill>
                <a:prstClr val="black"/>
              </a:solidFill>
            </a:endParaRPr>
          </a:p>
        </p:txBody>
      </p:sp>
      <p:sp>
        <p:nvSpPr>
          <p:cNvPr id="8" name="Espace réservé du texte 3"/>
          <p:cNvSpPr>
            <a:spLocks noGrp="1"/>
          </p:cNvSpPr>
          <p:nvPr>
            <p:ph type="body" sz="half" idx="15" hasCustomPrompt="1"/>
          </p:nvPr>
        </p:nvSpPr>
        <p:spPr>
          <a:xfrm>
            <a:off x="1103445" y="6368402"/>
            <a:ext cx="2880320" cy="221564"/>
          </a:xfrm>
        </p:spPr>
        <p:txBody>
          <a:bodyPr>
            <a:noAutofit/>
          </a:bodyPr>
          <a:lstStyle>
            <a:lvl1pPr marL="0" indent="0" algn="l">
              <a:buNone/>
              <a:defRPr sz="1200" baseline="0">
                <a:solidFill>
                  <a:srgbClr val="D6D2C4"/>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r-FR" dirty="0"/>
              <a:t>Nom du Site </a:t>
            </a:r>
          </a:p>
        </p:txBody>
      </p:sp>
      <p:sp>
        <p:nvSpPr>
          <p:cNvPr id="13" name="Espace réservé du texte 3"/>
          <p:cNvSpPr>
            <a:spLocks noGrp="1"/>
          </p:cNvSpPr>
          <p:nvPr>
            <p:ph type="body" sz="half" idx="16" hasCustomPrompt="1"/>
          </p:nvPr>
        </p:nvSpPr>
        <p:spPr>
          <a:xfrm>
            <a:off x="7632171" y="394993"/>
            <a:ext cx="4320480" cy="249697"/>
          </a:xfrm>
        </p:spPr>
        <p:txBody>
          <a:bodyPr>
            <a:noAutofit/>
          </a:bodyPr>
          <a:lstStyle>
            <a:lvl1pPr marL="0" indent="0" algn="r">
              <a:buNone/>
              <a:defRPr sz="1200" baseline="0">
                <a:solidFill>
                  <a:srgbClr val="29385E"/>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r-FR" dirty="0"/>
              <a:t>NOM DU SERVICE</a:t>
            </a:r>
          </a:p>
        </p:txBody>
      </p:sp>
    </p:spTree>
    <p:extLst>
      <p:ext uri="{BB962C8B-B14F-4D97-AF65-F5344CB8AC3E}">
        <p14:creationId xmlns:p14="http://schemas.microsoft.com/office/powerpoint/2010/main" val="39881619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ver">
    <p:bg bwMode="gray">
      <p:bgPr>
        <a:solidFill>
          <a:schemeClr val="tx2"/>
        </a:solidFill>
        <a:effectLst/>
      </p:bgPr>
    </p:bg>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9" y="4169584"/>
            <a:ext cx="11235265" cy="768000"/>
          </a:xfrm>
        </p:spPr>
        <p:txBody>
          <a:bodyPr/>
          <a:lstStyle>
            <a:lvl1pPr marL="0" indent="0" algn="ctr">
              <a:buNone/>
              <a:defRPr sz="20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pic>
        <p:nvPicPr>
          <p:cNvPr id="10" name="Imag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256000" y="6048789"/>
            <a:ext cx="1680000" cy="378305"/>
          </a:xfrm>
          <a:prstGeom prst="rect">
            <a:avLst/>
          </a:prstGeom>
        </p:spPr>
      </p:pic>
      <p:sp>
        <p:nvSpPr>
          <p:cNvPr id="8" name="Espace réservé du texte 7"/>
          <p:cNvSpPr>
            <a:spLocks noGrp="1"/>
          </p:cNvSpPr>
          <p:nvPr>
            <p:ph type="body" sz="quarter" idx="13" hasCustomPrompt="1"/>
          </p:nvPr>
        </p:nvSpPr>
        <p:spPr>
          <a:xfrm>
            <a:off x="479999" y="537599"/>
            <a:ext cx="11236800" cy="3384000"/>
          </a:xfrm>
        </p:spPr>
        <p:txBody>
          <a:bodyPr anchor="b" anchorCtr="0"/>
          <a:lstStyle>
            <a:lvl1pPr marL="0" indent="0">
              <a:lnSpc>
                <a:spcPct val="95000"/>
              </a:lnSpc>
              <a:buFont typeface="Arial" panose="020B0604020202020204" pitchFamily="34" charset="0"/>
              <a:buNone/>
              <a:defRPr sz="4000">
                <a:solidFill>
                  <a:schemeClr val="bg1"/>
                </a:solidFill>
              </a:defRPr>
            </a:lvl1pPr>
            <a:lvl2pPr marL="0" indent="0">
              <a:lnSpc>
                <a:spcPct val="95000"/>
              </a:lnSpc>
              <a:buNone/>
              <a:defRPr sz="3333">
                <a:solidFill>
                  <a:schemeClr val="bg1"/>
                </a:solidFill>
              </a:defRPr>
            </a:lvl2pPr>
          </a:lstStyle>
          <a:p>
            <a:pPr lvl="0"/>
            <a:r>
              <a:rPr lang="en-US" noProof="0" dirty="0"/>
              <a:t>Title</a:t>
            </a:r>
          </a:p>
          <a:p>
            <a:pPr lvl="1"/>
            <a:r>
              <a:rPr lang="en-US" noProof="0" dirty="0"/>
              <a:t>Subtitle</a:t>
            </a:r>
          </a:p>
        </p:txBody>
      </p:sp>
      <p:pic>
        <p:nvPicPr>
          <p:cNvPr id="9"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256000" y="6048789"/>
            <a:ext cx="1680000" cy="378305"/>
          </a:xfrm>
          <a:prstGeom prst="rect">
            <a:avLst/>
          </a:prstGeom>
        </p:spPr>
      </p:pic>
    </p:spTree>
    <p:extLst>
      <p:ext uri="{BB962C8B-B14F-4D97-AF65-F5344CB8AC3E}">
        <p14:creationId xmlns:p14="http://schemas.microsoft.com/office/powerpoint/2010/main" val="5911440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1_Cover &amp; Visual">
    <p:spTree>
      <p:nvGrpSpPr>
        <p:cNvPr id="1" name=""/>
        <p:cNvGrpSpPr/>
        <p:nvPr/>
      </p:nvGrpSpPr>
      <p:grpSpPr>
        <a:xfrm>
          <a:off x="0" y="0"/>
          <a:ext cx="0" cy="0"/>
          <a:chOff x="0" y="0"/>
          <a:chExt cx="0" cy="0"/>
        </a:xfrm>
      </p:grpSpPr>
      <p:sp>
        <p:nvSpPr>
          <p:cNvPr id="9" name="Espace réservé du texte 8"/>
          <p:cNvSpPr>
            <a:spLocks noGrp="1"/>
          </p:cNvSpPr>
          <p:nvPr>
            <p:ph type="body" sz="quarter" idx="20" hasCustomPrompt="1"/>
          </p:nvPr>
        </p:nvSpPr>
        <p:spPr>
          <a:xfrm>
            <a:off x="0" y="0"/>
            <a:ext cx="12192000" cy="3552000"/>
          </a:xfrm>
          <a:solidFill>
            <a:srgbClr val="FFCD1E"/>
          </a:solidFill>
          <a:ln>
            <a:solidFill>
              <a:schemeClr val="bg1">
                <a:alpha val="0"/>
              </a:schemeClr>
            </a:solidFill>
          </a:ln>
        </p:spPr>
        <p:txBody>
          <a:bodyPr/>
          <a:lstStyle>
            <a:lvl1pPr>
              <a:defRPr sz="133" baseline="0">
                <a:solidFill>
                  <a:schemeClr val="bg1">
                    <a:alpha val="0"/>
                  </a:schemeClr>
                </a:solidFill>
              </a:defRPr>
            </a:lvl1pPr>
          </a:lstStyle>
          <a:p>
            <a:pPr lvl="0"/>
            <a:r>
              <a:rPr lang="en-US" noProof="0" dirty="0"/>
              <a:t> </a:t>
            </a:r>
          </a:p>
        </p:txBody>
      </p:sp>
      <p:sp>
        <p:nvSpPr>
          <p:cNvPr id="19" name="Espace réservé pour une image  4"/>
          <p:cNvSpPr>
            <a:spLocks noGrp="1"/>
          </p:cNvSpPr>
          <p:nvPr>
            <p:ph type="pic" sz="quarter" idx="14" hasCustomPrompt="1"/>
          </p:nvPr>
        </p:nvSpPr>
        <p:spPr bwMode="gray">
          <a:xfrm>
            <a:off x="1487488" y="1273333"/>
            <a:ext cx="1152000" cy="1152000"/>
          </a:xfrm>
        </p:spPr>
        <p:txBody>
          <a:bodyPr anchor="ctr" anchorCtr="0"/>
          <a:lstStyle>
            <a:lvl1pPr>
              <a:defRPr sz="1333"/>
            </a:lvl1pPr>
          </a:lstStyle>
          <a:p>
            <a:r>
              <a:rPr lang="en-US" noProof="0" dirty="0"/>
              <a:t>Select the icon to insert a picture</a:t>
            </a:r>
          </a:p>
        </p:txBody>
      </p:sp>
      <p:sp>
        <p:nvSpPr>
          <p:cNvPr id="20" name="Espace réservé pour une image  4"/>
          <p:cNvSpPr>
            <a:spLocks noGrp="1"/>
          </p:cNvSpPr>
          <p:nvPr>
            <p:ph type="pic" sz="quarter" idx="15" hasCustomPrompt="1"/>
          </p:nvPr>
        </p:nvSpPr>
        <p:spPr bwMode="gray">
          <a:xfrm>
            <a:off x="9495340" y="1273333"/>
            <a:ext cx="1152000" cy="1152000"/>
          </a:xfrm>
        </p:spPr>
        <p:txBody>
          <a:bodyPr anchor="ctr" anchorCtr="0"/>
          <a:lstStyle>
            <a:lvl1pPr>
              <a:defRPr sz="1333"/>
            </a:lvl1pPr>
          </a:lstStyle>
          <a:p>
            <a:r>
              <a:rPr lang="en-US" noProof="0" dirty="0"/>
              <a:t>Select the icon to insert a picture</a:t>
            </a:r>
          </a:p>
        </p:txBody>
      </p:sp>
      <p:sp>
        <p:nvSpPr>
          <p:cNvPr id="21" name="Espace réservé pour une image  4"/>
          <p:cNvSpPr>
            <a:spLocks noGrp="1"/>
          </p:cNvSpPr>
          <p:nvPr>
            <p:ph type="pic" sz="quarter" idx="16" hasCustomPrompt="1"/>
          </p:nvPr>
        </p:nvSpPr>
        <p:spPr bwMode="gray">
          <a:xfrm>
            <a:off x="3089059" y="1273333"/>
            <a:ext cx="1152000" cy="1152000"/>
          </a:xfrm>
        </p:spPr>
        <p:txBody>
          <a:bodyPr anchor="ctr" anchorCtr="0"/>
          <a:lstStyle>
            <a:lvl1pPr>
              <a:defRPr sz="1333"/>
            </a:lvl1pPr>
          </a:lstStyle>
          <a:p>
            <a:r>
              <a:rPr lang="en-US" noProof="0" dirty="0"/>
              <a:t>Select the icon to insert a picture</a:t>
            </a:r>
          </a:p>
        </p:txBody>
      </p:sp>
      <p:sp>
        <p:nvSpPr>
          <p:cNvPr id="22" name="Espace réservé pour une image  4"/>
          <p:cNvSpPr>
            <a:spLocks noGrp="1"/>
          </p:cNvSpPr>
          <p:nvPr>
            <p:ph type="pic" sz="quarter" idx="17" hasCustomPrompt="1"/>
          </p:nvPr>
        </p:nvSpPr>
        <p:spPr bwMode="gray">
          <a:xfrm>
            <a:off x="4690629" y="1273333"/>
            <a:ext cx="1152000" cy="1152000"/>
          </a:xfrm>
        </p:spPr>
        <p:txBody>
          <a:bodyPr anchor="ctr" anchorCtr="0"/>
          <a:lstStyle>
            <a:lvl1pPr>
              <a:defRPr sz="1333"/>
            </a:lvl1pPr>
          </a:lstStyle>
          <a:p>
            <a:r>
              <a:rPr lang="en-US" noProof="0" dirty="0"/>
              <a:t>Select the icon to insert a picture</a:t>
            </a:r>
          </a:p>
        </p:txBody>
      </p:sp>
      <p:sp>
        <p:nvSpPr>
          <p:cNvPr id="23" name="Espace réservé pour une image  4"/>
          <p:cNvSpPr>
            <a:spLocks noGrp="1"/>
          </p:cNvSpPr>
          <p:nvPr>
            <p:ph type="pic" sz="quarter" idx="18" hasCustomPrompt="1"/>
          </p:nvPr>
        </p:nvSpPr>
        <p:spPr bwMode="gray">
          <a:xfrm>
            <a:off x="6292200" y="1273333"/>
            <a:ext cx="1152000" cy="1152000"/>
          </a:xfrm>
        </p:spPr>
        <p:txBody>
          <a:bodyPr anchor="ctr" anchorCtr="0"/>
          <a:lstStyle>
            <a:lvl1pPr>
              <a:defRPr sz="1333"/>
            </a:lvl1pPr>
          </a:lstStyle>
          <a:p>
            <a:r>
              <a:rPr lang="en-US" noProof="0" dirty="0"/>
              <a:t>Select the icon to insert a picture</a:t>
            </a:r>
          </a:p>
        </p:txBody>
      </p:sp>
      <p:sp>
        <p:nvSpPr>
          <p:cNvPr id="24" name="Espace réservé pour une image  4"/>
          <p:cNvSpPr>
            <a:spLocks noGrp="1"/>
          </p:cNvSpPr>
          <p:nvPr>
            <p:ph type="pic" sz="quarter" idx="19" hasCustomPrompt="1"/>
          </p:nvPr>
        </p:nvSpPr>
        <p:spPr bwMode="gray">
          <a:xfrm>
            <a:off x="7893771" y="1273333"/>
            <a:ext cx="1152000" cy="1152000"/>
          </a:xfrm>
        </p:spPr>
        <p:txBody>
          <a:bodyPr anchor="ctr" anchorCtr="0"/>
          <a:lstStyle>
            <a:lvl1pPr>
              <a:defRPr sz="1333"/>
            </a:lvl1pPr>
          </a:lstStyle>
          <a:p>
            <a:r>
              <a:rPr lang="en-US" noProof="0" dirty="0"/>
              <a:t>Select the icon to insert a picture</a:t>
            </a:r>
          </a:p>
        </p:txBody>
      </p:sp>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r>
              <a:rPr lang="en-US">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pic>
        <p:nvPicPr>
          <p:cNvPr id="425" name="Image 4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256000" y="6048788"/>
            <a:ext cx="1680000" cy="378304"/>
          </a:xfrm>
          <a:prstGeom prst="rect">
            <a:avLst/>
          </a:prstGeom>
        </p:spPr>
      </p:pic>
      <p:sp>
        <p:nvSpPr>
          <p:cNvPr id="8"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pic>
        <p:nvPicPr>
          <p:cNvPr id="15" name="Imag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256000" y="6048788"/>
            <a:ext cx="1680000" cy="378304"/>
          </a:xfrm>
          <a:prstGeom prst="rect">
            <a:avLst/>
          </a:prstGeom>
        </p:spPr>
      </p:pic>
    </p:spTree>
    <p:extLst>
      <p:ext uri="{BB962C8B-B14F-4D97-AF65-F5344CB8AC3E}">
        <p14:creationId xmlns:p14="http://schemas.microsoft.com/office/powerpoint/2010/main" val="21160944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Cover &amp; Visual">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9" name="Espace réservé pour une image  11"/>
          <p:cNvSpPr>
            <a:spLocks noGrp="1"/>
          </p:cNvSpPr>
          <p:nvPr>
            <p:ph type="pic" sz="quarter" idx="14" hasCustomPrompt="1"/>
          </p:nvPr>
        </p:nvSpPr>
        <p:spPr bwMode="gray">
          <a:xfrm>
            <a:off x="0" y="0"/>
            <a:ext cx="12192000" cy="3552000"/>
          </a:xfrm>
          <a:solidFill>
            <a:srgbClr val="EAEAEA"/>
          </a:solidFill>
        </p:spPr>
        <p:txBody>
          <a:bodyPr tIns="540000" anchor="ctr" anchorCtr="0"/>
          <a:lstStyle>
            <a:lvl1pPr>
              <a:defRPr sz="1333"/>
            </a:lvl1pPr>
          </a:lstStyle>
          <a:p>
            <a:r>
              <a:rPr lang="en-US" noProof="0" dirty="0"/>
              <a:t>Select the icon to insert a picture</a:t>
            </a:r>
          </a:p>
        </p:txBody>
      </p:sp>
      <p:pic>
        <p:nvPicPr>
          <p:cNvPr id="8" name="Imag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256000" y="6048788"/>
            <a:ext cx="1680000" cy="378304"/>
          </a:xfrm>
          <a:prstGeom prst="rect">
            <a:avLst/>
          </a:prstGeom>
        </p:spPr>
      </p:pic>
      <p:sp>
        <p:nvSpPr>
          <p:cNvPr id="10"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256000" y="6048788"/>
            <a:ext cx="1680000" cy="378304"/>
          </a:xfrm>
          <a:prstGeom prst="rect">
            <a:avLst/>
          </a:prstGeom>
        </p:spPr>
      </p:pic>
    </p:spTree>
    <p:extLst>
      <p:ext uri="{BB962C8B-B14F-4D97-AF65-F5344CB8AC3E}">
        <p14:creationId xmlns:p14="http://schemas.microsoft.com/office/powerpoint/2010/main" val="18392263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fr-FR">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smtClean="0">
                <a:solidFill>
                  <a:srgbClr val="464B69"/>
                </a:solidFill>
              </a:rPr>
              <a:pPr/>
              <a:t>‹N°›</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r>
              <a:rPr lang="en-US">
                <a:solidFill>
                  <a:srgbClr val="464B69"/>
                </a:solidFill>
              </a:rPr>
              <a:t>Presentation title</a:t>
            </a:r>
            <a:endParaRPr lang="en-US" dirty="0">
              <a:solidFill>
                <a:srgbClr val="464B69"/>
              </a:solidFill>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24" y="1796819"/>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02" y="1940761"/>
            <a:ext cx="10156921" cy="432123"/>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24" y="247849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02" y="2622437"/>
            <a:ext cx="10156921" cy="432123"/>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24" y="3160171"/>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02" y="3304113"/>
            <a:ext cx="10156921" cy="432123"/>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911424" y="38418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1555702" y="3985789"/>
            <a:ext cx="10156921" cy="432123"/>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911424" y="4523523"/>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1555702" y="4667465"/>
            <a:ext cx="10156921" cy="432123"/>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911424" y="520519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1555702" y="5349140"/>
            <a:ext cx="10156921" cy="432123"/>
          </a:xfrm>
        </p:spPr>
        <p:txBody>
          <a:bodyPr/>
          <a:lstStyle>
            <a:lvl1pPr algn="l">
              <a:defRPr>
                <a:solidFill>
                  <a:schemeClr val="accent4"/>
                </a:solidFill>
              </a:defRPr>
            </a:lvl1pPr>
          </a:lstStyle>
          <a:p>
            <a:pPr lvl="0"/>
            <a:r>
              <a:rPr lang="en-US" noProof="0" dirty="0"/>
              <a:t>Text</a:t>
            </a:r>
          </a:p>
        </p:txBody>
      </p:sp>
      <p:sp>
        <p:nvSpPr>
          <p:cNvPr id="22" name="Rectangle 21"/>
          <p:cNvSpPr/>
          <p:nvPr userDrawn="1"/>
        </p:nvSpPr>
        <p:spPr>
          <a:xfrm>
            <a:off x="0" y="0"/>
            <a:ext cx="14333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sz="2400">
              <a:solidFill>
                <a:srgbClr val="FFFFFF"/>
              </a:solidFill>
            </a:endParaRPr>
          </a:p>
        </p:txBody>
      </p:sp>
    </p:spTree>
    <p:extLst>
      <p:ext uri="{BB962C8B-B14F-4D97-AF65-F5344CB8AC3E}">
        <p14:creationId xmlns:p14="http://schemas.microsoft.com/office/powerpoint/2010/main" val="13236859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Agenda 3 colum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fr-FR">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smtClean="0">
                <a:solidFill>
                  <a:srgbClr val="464B69"/>
                </a:solidFill>
              </a:rPr>
              <a:pPr/>
              <a:t>‹N°›</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r>
              <a:rPr lang="en-US">
                <a:solidFill>
                  <a:srgbClr val="464B69"/>
                </a:solidFill>
              </a:rPr>
              <a:t>Presentation title</a:t>
            </a:r>
            <a:endParaRPr lang="en-US" dirty="0">
              <a:solidFill>
                <a:srgbClr val="464B69"/>
              </a:solidFill>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88"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67" y="2420889"/>
            <a:ext cx="2880000" cy="673100"/>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88"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67" y="3299307"/>
            <a:ext cx="2880000" cy="673100"/>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88"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67" y="4177727"/>
            <a:ext cx="2880000" cy="673100"/>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4530773"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5175052" y="2420889"/>
            <a:ext cx="2880000" cy="673100"/>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4530773"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5175052" y="3299307"/>
            <a:ext cx="2880000" cy="673100"/>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4530773"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5175052" y="4177727"/>
            <a:ext cx="2880000" cy="673100"/>
          </a:xfrm>
        </p:spPr>
        <p:txBody>
          <a:bodyPr/>
          <a:lstStyle>
            <a:lvl1pPr algn="l">
              <a:defRPr>
                <a:solidFill>
                  <a:schemeClr val="accent4"/>
                </a:solidFill>
              </a:defRPr>
            </a:lvl1pPr>
          </a:lstStyle>
          <a:p>
            <a:pPr lvl="0"/>
            <a:r>
              <a:rPr lang="en-US" noProof="0" dirty="0"/>
              <a:t>Text</a:t>
            </a:r>
          </a:p>
        </p:txBody>
      </p:sp>
      <p:sp>
        <p:nvSpPr>
          <p:cNvPr id="22" name="Espace réservé du texte 4"/>
          <p:cNvSpPr>
            <a:spLocks noGrp="1"/>
          </p:cNvSpPr>
          <p:nvPr>
            <p:ph type="body" sz="quarter" idx="25" hasCustomPrompt="1"/>
          </p:nvPr>
        </p:nvSpPr>
        <p:spPr bwMode="gray">
          <a:xfrm>
            <a:off x="8180735"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3" name="Espace réservé du texte 7"/>
          <p:cNvSpPr>
            <a:spLocks noGrp="1"/>
          </p:cNvSpPr>
          <p:nvPr>
            <p:ph type="body" sz="quarter" idx="26" hasCustomPrompt="1"/>
          </p:nvPr>
        </p:nvSpPr>
        <p:spPr bwMode="gray">
          <a:xfrm>
            <a:off x="8825013" y="2420889"/>
            <a:ext cx="2880000" cy="673100"/>
          </a:xfrm>
        </p:spPr>
        <p:txBody>
          <a:bodyPr/>
          <a:lstStyle>
            <a:lvl1pPr algn="l">
              <a:defRPr>
                <a:solidFill>
                  <a:schemeClr val="accent4"/>
                </a:solidFill>
              </a:defRPr>
            </a:lvl1pPr>
          </a:lstStyle>
          <a:p>
            <a:pPr lvl="0"/>
            <a:r>
              <a:rPr lang="en-US" noProof="0" dirty="0"/>
              <a:t>Text</a:t>
            </a:r>
          </a:p>
        </p:txBody>
      </p:sp>
      <p:sp>
        <p:nvSpPr>
          <p:cNvPr id="24" name="Espace réservé du texte 4"/>
          <p:cNvSpPr>
            <a:spLocks noGrp="1"/>
          </p:cNvSpPr>
          <p:nvPr>
            <p:ph type="body" sz="quarter" idx="27" hasCustomPrompt="1"/>
          </p:nvPr>
        </p:nvSpPr>
        <p:spPr bwMode="gray">
          <a:xfrm>
            <a:off x="8180735"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5" name="Espace réservé du texte 7"/>
          <p:cNvSpPr>
            <a:spLocks noGrp="1"/>
          </p:cNvSpPr>
          <p:nvPr>
            <p:ph type="body" sz="quarter" idx="28" hasCustomPrompt="1"/>
          </p:nvPr>
        </p:nvSpPr>
        <p:spPr bwMode="gray">
          <a:xfrm>
            <a:off x="8825013" y="3299307"/>
            <a:ext cx="2880000" cy="673100"/>
          </a:xfrm>
        </p:spPr>
        <p:txBody>
          <a:bodyPr/>
          <a:lstStyle>
            <a:lvl1pPr algn="l">
              <a:defRPr>
                <a:solidFill>
                  <a:schemeClr val="accent4"/>
                </a:solidFill>
              </a:defRPr>
            </a:lvl1pPr>
          </a:lstStyle>
          <a:p>
            <a:pPr lvl="0"/>
            <a:r>
              <a:rPr lang="en-US" noProof="0" dirty="0"/>
              <a:t>Text</a:t>
            </a:r>
          </a:p>
        </p:txBody>
      </p:sp>
      <p:sp>
        <p:nvSpPr>
          <p:cNvPr id="26" name="Espace réservé du texte 4"/>
          <p:cNvSpPr>
            <a:spLocks noGrp="1"/>
          </p:cNvSpPr>
          <p:nvPr>
            <p:ph type="body" sz="quarter" idx="29" hasCustomPrompt="1"/>
          </p:nvPr>
        </p:nvSpPr>
        <p:spPr bwMode="gray">
          <a:xfrm>
            <a:off x="8180735"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7" name="Espace réservé du texte 7"/>
          <p:cNvSpPr>
            <a:spLocks noGrp="1"/>
          </p:cNvSpPr>
          <p:nvPr>
            <p:ph type="body" sz="quarter" idx="30" hasCustomPrompt="1"/>
          </p:nvPr>
        </p:nvSpPr>
        <p:spPr bwMode="gray">
          <a:xfrm>
            <a:off x="8825013" y="4177727"/>
            <a:ext cx="2880000" cy="673100"/>
          </a:xfrm>
        </p:spPr>
        <p:txBody>
          <a:bodyPr/>
          <a:lstStyle>
            <a:lvl1pPr algn="l">
              <a:defRPr>
                <a:solidFill>
                  <a:schemeClr val="accent4"/>
                </a:solidFill>
              </a:defRPr>
            </a:lvl1pPr>
          </a:lstStyle>
          <a:p>
            <a:pPr lvl="0"/>
            <a:r>
              <a:rPr lang="en-US" noProof="0" dirty="0"/>
              <a:t>Text</a:t>
            </a:r>
          </a:p>
        </p:txBody>
      </p:sp>
    </p:spTree>
    <p:extLst>
      <p:ext uri="{BB962C8B-B14F-4D97-AF65-F5344CB8AC3E}">
        <p14:creationId xmlns:p14="http://schemas.microsoft.com/office/powerpoint/2010/main" val="34006258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hapter P2185C">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1" name="Rectangle 10"/>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pic>
        <p:nvPicPr>
          <p:cNvPr id="12" name="Imag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42690299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hapter P2915C">
    <p:spTree>
      <p:nvGrpSpPr>
        <p:cNvPr id="1" name=""/>
        <p:cNvGrpSpPr/>
        <p:nvPr/>
      </p:nvGrpSpPr>
      <p:grpSpPr>
        <a:xfrm>
          <a:off x="0" y="0"/>
          <a:ext cx="0" cy="0"/>
          <a:chOff x="0" y="0"/>
          <a:chExt cx="0" cy="0"/>
        </a:xfrm>
      </p:grpSpPr>
      <p:sp>
        <p:nvSpPr>
          <p:cNvPr id="11" name="Rectangle 10"/>
          <p:cNvSpPr/>
          <p:nvPr/>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Rectangle 11"/>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4464099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hapter P393C">
    <p:spTree>
      <p:nvGrpSpPr>
        <p:cNvPr id="1" name=""/>
        <p:cNvGrpSpPr/>
        <p:nvPr/>
      </p:nvGrpSpPr>
      <p:grpSpPr>
        <a:xfrm>
          <a:off x="0" y="0"/>
          <a:ext cx="0" cy="0"/>
          <a:chOff x="0" y="0"/>
          <a:chExt cx="0" cy="0"/>
        </a:xfrm>
      </p:grpSpPr>
      <p:sp>
        <p:nvSpPr>
          <p:cNvPr id="11" name="Rectangle 10"/>
          <p:cNvSpPr/>
          <p:nvPr/>
        </p:nvSpPr>
        <p:spPr bwMode="gray">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Rectangle 11"/>
          <p:cNvSpPr/>
          <p:nvPr userDrawn="1"/>
        </p:nvSpPr>
        <p:spPr bwMode="gray">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9322600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hapter P166C">
    <p:spTree>
      <p:nvGrpSpPr>
        <p:cNvPr id="1" name=""/>
        <p:cNvGrpSpPr/>
        <p:nvPr/>
      </p:nvGrpSpPr>
      <p:grpSpPr>
        <a:xfrm>
          <a:off x="0" y="0"/>
          <a:ext cx="0" cy="0"/>
          <a:chOff x="0" y="0"/>
          <a:chExt cx="0" cy="0"/>
        </a:xfrm>
      </p:grpSpPr>
      <p:sp>
        <p:nvSpPr>
          <p:cNvPr id="12" name="Rectangle 11"/>
          <p:cNvSpPr/>
          <p:nvPr/>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1" name="Rectangle 10"/>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3449885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amp; Visual">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a:xfrm>
            <a:off x="-4911" y="5587767"/>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9" name="Espace réservé pour une image  11"/>
          <p:cNvSpPr>
            <a:spLocks noGrp="1"/>
          </p:cNvSpPr>
          <p:nvPr>
            <p:ph type="pic" sz="quarter" idx="14" hasCustomPrompt="1"/>
          </p:nvPr>
        </p:nvSpPr>
        <p:spPr bwMode="gray">
          <a:xfrm>
            <a:off x="0" y="0"/>
            <a:ext cx="12192000" cy="3552000"/>
          </a:xfrm>
          <a:solidFill>
            <a:srgbClr val="EAEAEA"/>
          </a:solidFill>
        </p:spPr>
        <p:txBody>
          <a:bodyPr tIns="540000" anchor="ctr" anchorCtr="0"/>
          <a:lstStyle>
            <a:lvl1pPr>
              <a:defRPr sz="1333"/>
            </a:lvl1pPr>
          </a:lstStyle>
          <a:p>
            <a:r>
              <a:rPr lang="en-US" noProof="0" dirty="0"/>
              <a:t>Select the icon to insert a picture</a:t>
            </a:r>
          </a:p>
        </p:txBody>
      </p:sp>
      <p:sp>
        <p:nvSpPr>
          <p:cNvPr id="10"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pic>
        <p:nvPicPr>
          <p:cNvPr id="12" name="Imag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83157" y="6254289"/>
            <a:ext cx="2225686" cy="301487"/>
          </a:xfrm>
          <a:prstGeom prst="rect">
            <a:avLst/>
          </a:prstGeom>
        </p:spPr>
      </p:pic>
    </p:spTree>
    <p:extLst>
      <p:ext uri="{BB962C8B-B14F-4D97-AF65-F5344CB8AC3E}">
        <p14:creationId xmlns:p14="http://schemas.microsoft.com/office/powerpoint/2010/main" val="25184738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hapter P631C">
    <p:spTree>
      <p:nvGrpSpPr>
        <p:cNvPr id="1" name=""/>
        <p:cNvGrpSpPr/>
        <p:nvPr/>
      </p:nvGrpSpPr>
      <p:grpSpPr>
        <a:xfrm>
          <a:off x="0" y="0"/>
          <a:ext cx="0" cy="0"/>
          <a:chOff x="0" y="0"/>
          <a:chExt cx="0" cy="0"/>
        </a:xfrm>
      </p:grpSpPr>
      <p:sp>
        <p:nvSpPr>
          <p:cNvPr id="11" name="Rectangle 10"/>
          <p:cNvSpPr/>
          <p:nvPr/>
        </p:nvSpPr>
        <p:spPr bwMode="gray">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Rectangle 11"/>
          <p:cNvSpPr/>
          <p:nvPr userDrawn="1"/>
        </p:nvSpPr>
        <p:spPr bwMode="gray">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8589464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hapter P5415C">
    <p:spTree>
      <p:nvGrpSpPr>
        <p:cNvPr id="1" name=""/>
        <p:cNvGrpSpPr/>
        <p:nvPr/>
      </p:nvGrpSpPr>
      <p:grpSpPr>
        <a:xfrm>
          <a:off x="0" y="0"/>
          <a:ext cx="0" cy="0"/>
          <a:chOff x="0" y="0"/>
          <a:chExt cx="0" cy="0"/>
        </a:xfrm>
      </p:grpSpPr>
      <p:sp>
        <p:nvSpPr>
          <p:cNvPr id="11" name="Rectangle 10"/>
          <p:cNvSpPr/>
          <p:nvPr/>
        </p:nvSpPr>
        <p:spPr bwMode="gray">
          <a:xfrm>
            <a:off x="0" y="0"/>
            <a:ext cx="12192000" cy="6858000"/>
          </a:xfrm>
          <a:prstGeom prst="rect">
            <a:avLst/>
          </a:prstGeom>
          <a:solidFill>
            <a:srgbClr val="5F82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Rectangle 11"/>
          <p:cNvSpPr/>
          <p:nvPr userDrawn="1"/>
        </p:nvSpPr>
        <p:spPr bwMode="gray">
          <a:xfrm>
            <a:off x="0" y="0"/>
            <a:ext cx="12192000" cy="6858000"/>
          </a:xfrm>
          <a:prstGeom prst="rect">
            <a:avLst/>
          </a:prstGeom>
          <a:solidFill>
            <a:srgbClr val="5F82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2854134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hapter P381C">
    <p:spTree>
      <p:nvGrpSpPr>
        <p:cNvPr id="1" name=""/>
        <p:cNvGrpSpPr/>
        <p:nvPr/>
      </p:nvGrpSpPr>
      <p:grpSpPr>
        <a:xfrm>
          <a:off x="0" y="0"/>
          <a:ext cx="0" cy="0"/>
          <a:chOff x="0" y="0"/>
          <a:chExt cx="0" cy="0"/>
        </a:xfrm>
      </p:grpSpPr>
      <p:sp>
        <p:nvSpPr>
          <p:cNvPr id="11" name="Rectangle 10"/>
          <p:cNvSpPr/>
          <p:nvPr/>
        </p:nvSpPr>
        <p:spPr bwMode="gray">
          <a:xfrm>
            <a:off x="0" y="0"/>
            <a:ext cx="12192000" cy="6858000"/>
          </a:xfrm>
          <a:prstGeom prst="rect">
            <a:avLst/>
          </a:prstGeom>
          <a:solidFill>
            <a:srgbClr val="DCD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Rectangle 11"/>
          <p:cNvSpPr/>
          <p:nvPr userDrawn="1"/>
        </p:nvSpPr>
        <p:spPr bwMode="gray">
          <a:xfrm>
            <a:off x="0" y="0"/>
            <a:ext cx="12192000" cy="6858000"/>
          </a:xfrm>
          <a:prstGeom prst="rect">
            <a:avLst/>
          </a:prstGeom>
          <a:solidFill>
            <a:srgbClr val="DCD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7798602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hapter P7506C">
    <p:spTree>
      <p:nvGrpSpPr>
        <p:cNvPr id="1" name=""/>
        <p:cNvGrpSpPr/>
        <p:nvPr/>
      </p:nvGrpSpPr>
      <p:grpSpPr>
        <a:xfrm>
          <a:off x="0" y="0"/>
          <a:ext cx="0" cy="0"/>
          <a:chOff x="0" y="0"/>
          <a:chExt cx="0" cy="0"/>
        </a:xfrm>
      </p:grpSpPr>
      <p:sp>
        <p:nvSpPr>
          <p:cNvPr id="11" name="Rectangle 10"/>
          <p:cNvSpPr/>
          <p:nvPr/>
        </p:nvSpPr>
        <p:spPr bwMode="gray">
          <a:xfrm>
            <a:off x="0" y="0"/>
            <a:ext cx="12192000" cy="6858000"/>
          </a:xfrm>
          <a:prstGeom prst="rect">
            <a:avLst/>
          </a:prstGeom>
          <a:solidFill>
            <a:srgbClr val="FFC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Rectangle 11"/>
          <p:cNvSpPr/>
          <p:nvPr userDrawn="1"/>
        </p:nvSpPr>
        <p:spPr bwMode="gray">
          <a:xfrm>
            <a:off x="0" y="0"/>
            <a:ext cx="12192000" cy="6858000"/>
          </a:xfrm>
          <a:prstGeom prst="rect">
            <a:avLst/>
          </a:prstGeom>
          <a:solidFill>
            <a:srgbClr val="FFC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8803668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hapter P7670C">
    <p:spTree>
      <p:nvGrpSpPr>
        <p:cNvPr id="1" name=""/>
        <p:cNvGrpSpPr/>
        <p:nvPr/>
      </p:nvGrpSpPr>
      <p:grpSpPr>
        <a:xfrm>
          <a:off x="0" y="0"/>
          <a:ext cx="0" cy="0"/>
          <a:chOff x="0" y="0"/>
          <a:chExt cx="0" cy="0"/>
        </a:xfrm>
      </p:grpSpPr>
      <p:sp>
        <p:nvSpPr>
          <p:cNvPr id="11" name="Rectangle 10"/>
          <p:cNvSpPr/>
          <p:nvPr/>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Rectangle 11"/>
          <p:cNvSpPr/>
          <p:nvPr userDrawn="1"/>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9674639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hapter P1787C">
    <p:spTree>
      <p:nvGrpSpPr>
        <p:cNvPr id="1" name=""/>
        <p:cNvGrpSpPr/>
        <p:nvPr/>
      </p:nvGrpSpPr>
      <p:grpSpPr>
        <a:xfrm>
          <a:off x="0" y="0"/>
          <a:ext cx="0" cy="0"/>
          <a:chOff x="0" y="0"/>
          <a:chExt cx="0" cy="0"/>
        </a:xfrm>
      </p:grpSpPr>
      <p:sp>
        <p:nvSpPr>
          <p:cNvPr id="11" name="Rectangle 10"/>
          <p:cNvSpPr/>
          <p:nvPr/>
        </p:nvSpPr>
        <p:spPr bwMode="gray">
          <a:xfrm>
            <a:off x="0" y="0"/>
            <a:ext cx="12192000" cy="6858000"/>
          </a:xfrm>
          <a:prstGeom prst="rect">
            <a:avLst/>
          </a:prstGeom>
          <a:solidFill>
            <a:srgbClr val="E63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Rectangle 11"/>
          <p:cNvSpPr/>
          <p:nvPr userDrawn="1"/>
        </p:nvSpPr>
        <p:spPr bwMode="gray">
          <a:xfrm>
            <a:off x="0" y="0"/>
            <a:ext cx="12192000" cy="6858000"/>
          </a:xfrm>
          <a:prstGeom prst="rect">
            <a:avLst/>
          </a:prstGeom>
          <a:solidFill>
            <a:srgbClr val="E63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4655447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hapter P5275C">
    <p:spTree>
      <p:nvGrpSpPr>
        <p:cNvPr id="1" name=""/>
        <p:cNvGrpSpPr/>
        <p:nvPr/>
      </p:nvGrpSpPr>
      <p:grpSpPr>
        <a:xfrm>
          <a:off x="0" y="0"/>
          <a:ext cx="0" cy="0"/>
          <a:chOff x="0" y="0"/>
          <a:chExt cx="0" cy="0"/>
        </a:xfrm>
      </p:grpSpPr>
      <p:sp>
        <p:nvSpPr>
          <p:cNvPr id="11" name="Rectangle 10"/>
          <p:cNvSpPr/>
          <p:nvPr/>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Rectangle 11"/>
          <p:cNvSpPr/>
          <p:nvPr userDrawn="1"/>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6253924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hapter P214C">
    <p:spTree>
      <p:nvGrpSpPr>
        <p:cNvPr id="1" name=""/>
        <p:cNvGrpSpPr/>
        <p:nvPr/>
      </p:nvGrpSpPr>
      <p:grpSpPr>
        <a:xfrm>
          <a:off x="0" y="0"/>
          <a:ext cx="0" cy="0"/>
          <a:chOff x="0" y="0"/>
          <a:chExt cx="0" cy="0"/>
        </a:xfrm>
      </p:grpSpPr>
      <p:sp>
        <p:nvSpPr>
          <p:cNvPr id="11" name="Rectangle 10"/>
          <p:cNvSpPr/>
          <p:nvPr/>
        </p:nvSpPr>
        <p:spPr bwMode="gray">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Rectangle 11"/>
          <p:cNvSpPr/>
          <p:nvPr userDrawn="1"/>
        </p:nvSpPr>
        <p:spPr bwMode="gray">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6152844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lgn="l">
              <a:defRPr>
                <a:solidFill>
                  <a:schemeClr val="accent5"/>
                </a:solidFill>
              </a:defRPr>
            </a:lvl1pPr>
          </a:lstStyle>
          <a:p>
            <a:r>
              <a:rPr lang="en-US" noProof="0" dirty="0"/>
              <a:t>Title</a:t>
            </a:r>
          </a:p>
        </p:txBody>
      </p:sp>
      <p:sp>
        <p:nvSpPr>
          <p:cNvPr id="3" name="Espace réservé du contenu 2"/>
          <p:cNvSpPr>
            <a:spLocks noGrp="1"/>
          </p:cNvSpPr>
          <p:nvPr>
            <p:ph idx="1" hasCustomPrompt="1"/>
          </p:nvPr>
        </p:nvSpPr>
        <p:spPr bwMode="gray"/>
        <p:txBody>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7" name="Espace réservé de la date 6"/>
          <p:cNvSpPr>
            <a:spLocks noGrp="1"/>
          </p:cNvSpPr>
          <p:nvPr>
            <p:ph type="dt" sz="half" idx="10"/>
          </p:nvPr>
        </p:nvSpPr>
        <p:spPr bwMode="gray"/>
        <p:txBody>
          <a:bodyPr/>
          <a:lstStyle/>
          <a:p>
            <a:r>
              <a:rPr lang="fr-FR">
                <a:solidFill>
                  <a:srgbClr val="FFFFFF">
                    <a:alpha val="0"/>
                  </a:srgbClr>
                </a:solidFill>
              </a:rPr>
              <a:t>Date</a:t>
            </a:r>
            <a:endParaRPr lang="en-US" dirty="0">
              <a:solidFill>
                <a:srgbClr val="FFFFFF">
                  <a:alpha val="0"/>
                </a:srgbClr>
              </a:solidFill>
            </a:endParaRPr>
          </a:p>
        </p:txBody>
      </p:sp>
      <p:sp>
        <p:nvSpPr>
          <p:cNvPr id="8" name="Espace réservé du pied de page 7"/>
          <p:cNvSpPr>
            <a:spLocks noGrp="1"/>
          </p:cNvSpPr>
          <p:nvPr>
            <p:ph type="ftr" sz="quarter" idx="11"/>
          </p:nvPr>
        </p:nvSpPr>
        <p:spPr bwMode="gray"/>
        <p:txBody>
          <a:bodyPr/>
          <a:lstStyle/>
          <a:p>
            <a:r>
              <a:rPr lang="en-US">
                <a:solidFill>
                  <a:srgbClr val="464B69"/>
                </a:solidFill>
              </a:rPr>
              <a:t>Presentation title</a:t>
            </a:r>
            <a:endParaRPr lang="en-US" dirty="0">
              <a:solidFill>
                <a:srgbClr val="464B69"/>
              </a:solidFill>
            </a:endParaRP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US" smtClean="0">
                <a:solidFill>
                  <a:srgbClr val="464B69"/>
                </a:solidFill>
              </a:rPr>
              <a:pPr/>
              <a:t>‹N°›</a:t>
            </a:fld>
            <a:endParaRPr lang="en-US" dirty="0">
              <a:solidFill>
                <a:srgbClr val="464B69"/>
              </a:solidFill>
            </a:endParaRPr>
          </a:p>
        </p:txBody>
      </p:sp>
    </p:spTree>
    <p:extLst>
      <p:ext uri="{BB962C8B-B14F-4D97-AF65-F5344CB8AC3E}">
        <p14:creationId xmlns:p14="http://schemas.microsoft.com/office/powerpoint/2010/main" val="38991893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text 3 column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solidFill>
                  <a:schemeClr val="accent5"/>
                </a:solidFill>
              </a:defRPr>
            </a:lvl1pPr>
          </a:lstStyle>
          <a:p>
            <a:r>
              <a:rPr lang="en-US" noProof="0" dirty="0"/>
              <a:t>Title</a:t>
            </a:r>
          </a:p>
        </p:txBody>
      </p:sp>
      <p:sp>
        <p:nvSpPr>
          <p:cNvPr id="7" name="Espace réservé de la date 6"/>
          <p:cNvSpPr>
            <a:spLocks noGrp="1"/>
          </p:cNvSpPr>
          <p:nvPr>
            <p:ph type="dt" sz="half" idx="10"/>
          </p:nvPr>
        </p:nvSpPr>
        <p:spPr bwMode="gray"/>
        <p:txBody>
          <a:bodyPr/>
          <a:lstStyle/>
          <a:p>
            <a:r>
              <a:rPr lang="fr-FR">
                <a:solidFill>
                  <a:srgbClr val="FFFFFF">
                    <a:alpha val="0"/>
                  </a:srgbClr>
                </a:solidFill>
              </a:rPr>
              <a:t>Date</a:t>
            </a:r>
            <a:endParaRPr lang="en-US" dirty="0">
              <a:solidFill>
                <a:srgbClr val="FFFFFF">
                  <a:alpha val="0"/>
                </a:srgbClr>
              </a:solidFill>
            </a:endParaRPr>
          </a:p>
        </p:txBody>
      </p:sp>
      <p:sp>
        <p:nvSpPr>
          <p:cNvPr id="8" name="Espace réservé du pied de page 7"/>
          <p:cNvSpPr>
            <a:spLocks noGrp="1"/>
          </p:cNvSpPr>
          <p:nvPr>
            <p:ph type="ftr" sz="quarter" idx="11"/>
          </p:nvPr>
        </p:nvSpPr>
        <p:spPr bwMode="gray"/>
        <p:txBody>
          <a:bodyPr/>
          <a:lstStyle/>
          <a:p>
            <a:r>
              <a:rPr lang="en-US">
                <a:solidFill>
                  <a:srgbClr val="464B69"/>
                </a:solidFill>
              </a:rPr>
              <a:t>Presentation title</a:t>
            </a:r>
            <a:endParaRPr lang="en-US" dirty="0">
              <a:solidFill>
                <a:srgbClr val="464B69"/>
              </a:solidFill>
            </a:endParaRPr>
          </a:p>
        </p:txBody>
      </p:sp>
      <p:sp>
        <p:nvSpPr>
          <p:cNvPr id="9" name="Espace réservé du numéro de diapositive 8"/>
          <p:cNvSpPr>
            <a:spLocks noGrp="1"/>
          </p:cNvSpPr>
          <p:nvPr>
            <p:ph type="sldNum" sz="quarter" idx="12"/>
          </p:nvPr>
        </p:nvSpPr>
        <p:spPr bwMode="gray"/>
        <p:txBody>
          <a:bodyPr/>
          <a:lstStyle/>
          <a:p>
            <a:fld id="{733122C9-A0B9-462F-8757-0847AD287B63}" type="slidenum">
              <a:rPr lang="en-US" smtClean="0">
                <a:solidFill>
                  <a:srgbClr val="464B69"/>
                </a:solidFill>
              </a:rPr>
              <a:pPr/>
              <a:t>‹N°›</a:t>
            </a:fld>
            <a:endParaRPr lang="en-US" dirty="0">
              <a:solidFill>
                <a:srgbClr val="464B69"/>
              </a:solidFill>
            </a:endParaRPr>
          </a:p>
        </p:txBody>
      </p:sp>
      <p:sp>
        <p:nvSpPr>
          <p:cNvPr id="6" name="Espace réservé du texte 5"/>
          <p:cNvSpPr>
            <a:spLocks noGrp="1"/>
          </p:cNvSpPr>
          <p:nvPr>
            <p:ph type="body" sz="quarter" idx="13" hasCustomPrompt="1"/>
          </p:nvPr>
        </p:nvSpPr>
        <p:spPr bwMode="gray">
          <a:xfrm>
            <a:off x="478367"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0" name="Espace réservé du texte 5"/>
          <p:cNvSpPr>
            <a:spLocks noGrp="1"/>
          </p:cNvSpPr>
          <p:nvPr>
            <p:ph type="body" sz="quarter" idx="14" hasCustomPrompt="1"/>
          </p:nvPr>
        </p:nvSpPr>
        <p:spPr bwMode="gray">
          <a:xfrm>
            <a:off x="4295296"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1" name="Espace réservé du texte 5"/>
          <p:cNvSpPr>
            <a:spLocks noGrp="1"/>
          </p:cNvSpPr>
          <p:nvPr>
            <p:ph type="body" sz="quarter" idx="15" hasCustomPrompt="1"/>
          </p:nvPr>
        </p:nvSpPr>
        <p:spPr bwMode="gray">
          <a:xfrm>
            <a:off x="8112225" y="2468034"/>
            <a:ext cx="3601409"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2" name="Rectangle 11"/>
          <p:cNvSpPr/>
          <p:nvPr userDrawn="1"/>
        </p:nvSpPr>
        <p:spPr>
          <a:xfrm>
            <a:off x="0" y="0"/>
            <a:ext cx="14333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sz="2400">
              <a:solidFill>
                <a:srgbClr val="FFFFFF"/>
              </a:solidFill>
            </a:endParaRPr>
          </a:p>
        </p:txBody>
      </p:sp>
    </p:spTree>
    <p:extLst>
      <p:ext uri="{BB962C8B-B14F-4D97-AF65-F5344CB8AC3E}">
        <p14:creationId xmlns:p14="http://schemas.microsoft.com/office/powerpoint/2010/main" val="21481014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a:xfrm>
            <a:off x="-4911" y="5587767"/>
            <a:ext cx="478368" cy="452968"/>
          </a:xfrm>
          <a:prstGeom prst="rect">
            <a:avLst/>
          </a:prstGeom>
        </p:spPr>
        <p:txBody>
          <a:bodyPr/>
          <a:lstStyle/>
          <a:p>
            <a:r>
              <a:rPr lang="fr-FR">
                <a:solidFill>
                  <a:prstClr val="black"/>
                </a:solidFill>
              </a:rPr>
              <a:t>Date</a:t>
            </a:r>
            <a:endParaRPr lang="en-US" dirty="0">
              <a:solidFill>
                <a:prstClr val="black"/>
              </a:solidFill>
            </a:endParaRPr>
          </a:p>
        </p:txBody>
      </p:sp>
      <p:sp>
        <p:nvSpPr>
          <p:cNvPr id="12" name="Espace réservé du numéro de diapositive 11"/>
          <p:cNvSpPr>
            <a:spLocks noGrp="1"/>
          </p:cNvSpPr>
          <p:nvPr>
            <p:ph type="sldNum" sz="quarter" idx="11"/>
          </p:nvPr>
        </p:nvSpPr>
        <p:spPr bwMode="gray">
          <a:xfrm>
            <a:off x="-677" y="5252027"/>
            <a:ext cx="576080" cy="335740"/>
          </a:xfrm>
          <a:prstGeom prst="rect">
            <a:avLst/>
          </a:prstGeom>
        </p:spPr>
        <p:txBody>
          <a:bodyPr/>
          <a:lstStyle/>
          <a:p>
            <a:fld id="{733122C9-A0B9-462F-8757-0847AD287B63}" type="slidenum">
              <a:rPr lang="en-US">
                <a:solidFill>
                  <a:prstClr val="black"/>
                </a:solidFill>
              </a:rPr>
              <a:pPr/>
              <a:t>‹N°›</a:t>
            </a:fld>
            <a:endParaRPr lang="en-US" dirty="0">
              <a:solidFill>
                <a:prstClr val="black"/>
              </a:solidFill>
            </a:endParaRPr>
          </a:p>
        </p:txBody>
      </p:sp>
      <p:sp>
        <p:nvSpPr>
          <p:cNvPr id="13" name="Espace réservé du pied de page 12"/>
          <p:cNvSpPr>
            <a:spLocks noGrp="1"/>
          </p:cNvSpPr>
          <p:nvPr>
            <p:ph type="ftr" sz="quarter" idx="12"/>
          </p:nvPr>
        </p:nvSpPr>
        <p:spPr bwMode="gray">
          <a:xfrm>
            <a:off x="680561" y="5252027"/>
            <a:ext cx="9120000" cy="335740"/>
          </a:xfrm>
          <a:prstGeom prst="rect">
            <a:avLst/>
          </a:prstGeom>
        </p:spPr>
        <p:txBody>
          <a:bodyPr/>
          <a:lstStyle/>
          <a:p>
            <a:r>
              <a:rPr lang="en-US">
                <a:solidFill>
                  <a:prstClr val="black"/>
                </a:solidFill>
              </a:rPr>
              <a:t>Presentation title</a:t>
            </a:r>
            <a:endParaRPr lang="en-US" dirty="0">
              <a:solidFill>
                <a:prstClr val="black"/>
              </a:solidFill>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24" y="1796819"/>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02" y="1940761"/>
            <a:ext cx="10156921" cy="432123"/>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24" y="247849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02" y="2622437"/>
            <a:ext cx="10156921" cy="432123"/>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24" y="3160171"/>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02" y="3304113"/>
            <a:ext cx="10156921" cy="432123"/>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911424" y="38418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1555702" y="3985789"/>
            <a:ext cx="10156921" cy="432123"/>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911424" y="4523523"/>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1555702" y="4667465"/>
            <a:ext cx="10156921" cy="432123"/>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911424" y="520519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1555702" y="5349140"/>
            <a:ext cx="10156921" cy="432123"/>
          </a:xfrm>
        </p:spPr>
        <p:txBody>
          <a:bodyPr/>
          <a:lstStyle>
            <a:lvl1pPr algn="l">
              <a:defRPr>
                <a:solidFill>
                  <a:schemeClr val="accent4"/>
                </a:solidFill>
              </a:defRPr>
            </a:lvl1pPr>
          </a:lstStyle>
          <a:p>
            <a:pPr lvl="0"/>
            <a:r>
              <a:rPr lang="en-US" noProof="0" dirty="0"/>
              <a:t>Text</a:t>
            </a:r>
          </a:p>
        </p:txBody>
      </p:sp>
    </p:spTree>
    <p:extLst>
      <p:ext uri="{BB962C8B-B14F-4D97-AF65-F5344CB8AC3E}">
        <p14:creationId xmlns:p14="http://schemas.microsoft.com/office/powerpoint/2010/main" val="32722675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_Titre et contenu">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78367" y="2084917"/>
            <a:ext cx="2400300" cy="3793067"/>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8" name="Espace réservé pour une image  7"/>
          <p:cNvSpPr>
            <a:spLocks noGrp="1"/>
          </p:cNvSpPr>
          <p:nvPr>
            <p:ph type="pic" sz="quarter" idx="14" hasCustomPrompt="1"/>
          </p:nvPr>
        </p:nvSpPr>
        <p:spPr bwMode="gray">
          <a:xfrm>
            <a:off x="3024718" y="0"/>
            <a:ext cx="2302933" cy="3504000"/>
          </a:xfrm>
          <a:solidFill>
            <a:srgbClr val="EAEAEA"/>
          </a:solidFill>
        </p:spPr>
        <p:txBody>
          <a:bodyPr tIns="612000" anchor="ctr" anchorCtr="0"/>
          <a:lstStyle>
            <a:lvl1pPr>
              <a:defRPr sz="1333"/>
            </a:lvl1pPr>
          </a:lstStyle>
          <a:p>
            <a:r>
              <a:rPr lang="en-US" noProof="0" dirty="0"/>
              <a:t>Select the icon to insert a picture</a:t>
            </a:r>
          </a:p>
        </p:txBody>
      </p:sp>
      <p:sp>
        <p:nvSpPr>
          <p:cNvPr id="14" name="Espace réservé pour une image  7"/>
          <p:cNvSpPr>
            <a:spLocks noGrp="1"/>
          </p:cNvSpPr>
          <p:nvPr>
            <p:ph type="pic" sz="quarter" idx="15" hasCustomPrompt="1"/>
          </p:nvPr>
        </p:nvSpPr>
        <p:spPr bwMode="gray">
          <a:xfrm>
            <a:off x="3024717" y="3786000"/>
            <a:ext cx="2304000" cy="3072000"/>
          </a:xfrm>
          <a:solidFill>
            <a:srgbClr val="EAEAEA"/>
          </a:solidFill>
        </p:spPr>
        <p:txBody>
          <a:bodyPr tIns="612000" anchor="ctr" anchorCtr="0"/>
          <a:lstStyle>
            <a:lvl1pPr>
              <a:defRPr sz="1333"/>
            </a:lvl1pPr>
          </a:lstStyle>
          <a:p>
            <a:r>
              <a:rPr lang="en-US" noProof="0" dirty="0"/>
              <a:t>Select the icon to insert a picture</a:t>
            </a:r>
          </a:p>
        </p:txBody>
      </p:sp>
      <p:sp>
        <p:nvSpPr>
          <p:cNvPr id="15" name="Espace réservé pour une image  7"/>
          <p:cNvSpPr>
            <a:spLocks noGrp="1"/>
          </p:cNvSpPr>
          <p:nvPr>
            <p:ph type="pic" sz="quarter" idx="16" hasCustomPrompt="1"/>
          </p:nvPr>
        </p:nvSpPr>
        <p:spPr bwMode="gray">
          <a:xfrm>
            <a:off x="5568471" y="0"/>
            <a:ext cx="2302933" cy="2832000"/>
          </a:xfrm>
          <a:solidFill>
            <a:srgbClr val="EAEAEA"/>
          </a:solidFill>
        </p:spPr>
        <p:txBody>
          <a:bodyPr tIns="612000" anchor="ctr" anchorCtr="0"/>
          <a:lstStyle>
            <a:lvl1pPr>
              <a:defRPr sz="1333"/>
            </a:lvl1pPr>
          </a:lstStyle>
          <a:p>
            <a:r>
              <a:rPr lang="en-US" noProof="0" dirty="0"/>
              <a:t>Select the icon to insert a picture</a:t>
            </a:r>
          </a:p>
        </p:txBody>
      </p:sp>
      <p:sp>
        <p:nvSpPr>
          <p:cNvPr id="16" name="Espace réservé pour une image  7"/>
          <p:cNvSpPr>
            <a:spLocks noGrp="1"/>
          </p:cNvSpPr>
          <p:nvPr>
            <p:ph type="pic" sz="quarter" idx="17" hasCustomPrompt="1"/>
          </p:nvPr>
        </p:nvSpPr>
        <p:spPr bwMode="gray">
          <a:xfrm>
            <a:off x="5568471" y="3114000"/>
            <a:ext cx="2304000" cy="3744000"/>
          </a:xfrm>
          <a:solidFill>
            <a:srgbClr val="EAEAEA"/>
          </a:solidFill>
        </p:spPr>
        <p:txBody>
          <a:bodyPr tIns="612000" anchor="ctr" anchorCtr="0"/>
          <a:lstStyle>
            <a:lvl1pPr>
              <a:defRPr sz="1333"/>
            </a:lvl1pPr>
          </a:lstStyle>
          <a:p>
            <a:r>
              <a:rPr lang="en-US" noProof="0" dirty="0"/>
              <a:t>Select the icon to insert a picture</a:t>
            </a:r>
          </a:p>
        </p:txBody>
      </p:sp>
      <p:sp>
        <p:nvSpPr>
          <p:cNvPr id="17" name="Espace réservé pour une image  7"/>
          <p:cNvSpPr>
            <a:spLocks noGrp="1"/>
          </p:cNvSpPr>
          <p:nvPr>
            <p:ph type="pic" sz="quarter" idx="18" hasCustomPrompt="1"/>
          </p:nvPr>
        </p:nvSpPr>
        <p:spPr bwMode="gray">
          <a:xfrm>
            <a:off x="8112224" y="-4867"/>
            <a:ext cx="2302933" cy="3888000"/>
          </a:xfrm>
          <a:solidFill>
            <a:srgbClr val="EAEAEA"/>
          </a:solidFill>
        </p:spPr>
        <p:txBody>
          <a:bodyPr tIns="612000" anchor="ctr" anchorCtr="0"/>
          <a:lstStyle>
            <a:lvl1pPr>
              <a:defRPr sz="1333"/>
            </a:lvl1pPr>
          </a:lstStyle>
          <a:p>
            <a:r>
              <a:rPr lang="en-US" noProof="0" dirty="0"/>
              <a:t>Select the icon to insert a picture</a:t>
            </a:r>
          </a:p>
        </p:txBody>
      </p:sp>
      <p:sp>
        <p:nvSpPr>
          <p:cNvPr id="18" name="Espace réservé pour une image  7"/>
          <p:cNvSpPr>
            <a:spLocks noGrp="1"/>
          </p:cNvSpPr>
          <p:nvPr>
            <p:ph type="pic" sz="quarter" idx="19" hasCustomPrompt="1"/>
          </p:nvPr>
        </p:nvSpPr>
        <p:spPr bwMode="gray">
          <a:xfrm>
            <a:off x="8112224" y="4170000"/>
            <a:ext cx="2304000" cy="2688000"/>
          </a:xfrm>
          <a:solidFill>
            <a:srgbClr val="EAEAEA"/>
          </a:solidFill>
        </p:spPr>
        <p:txBody>
          <a:bodyPr tIns="612000" anchor="ctr" anchorCtr="0"/>
          <a:lstStyle>
            <a:lvl1pPr>
              <a:defRPr sz="1333"/>
            </a:lvl1pPr>
          </a:lstStyle>
          <a:p>
            <a:r>
              <a:rPr lang="en-US" noProof="0" dirty="0"/>
              <a:t>Select the icon to insert a picture</a:t>
            </a:r>
          </a:p>
        </p:txBody>
      </p:sp>
      <p:sp>
        <p:nvSpPr>
          <p:cNvPr id="19"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20"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21"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Tree>
    <p:extLst>
      <p:ext uri="{BB962C8B-B14F-4D97-AF65-F5344CB8AC3E}">
        <p14:creationId xmlns:p14="http://schemas.microsoft.com/office/powerpoint/2010/main" val="2971934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mp; Text ico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fr-FR">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smtClean="0">
                <a:solidFill>
                  <a:srgbClr val="464B69"/>
                </a:solidFill>
              </a:rPr>
              <a:pPr/>
              <a:t>‹N°›</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r>
              <a:rPr lang="en-US">
                <a:solidFill>
                  <a:srgbClr val="464B69"/>
                </a:solidFill>
              </a:rPr>
              <a:t>Presentation title</a:t>
            </a:r>
            <a:endParaRPr lang="en-US" dirty="0">
              <a:solidFill>
                <a:srgbClr val="464B69"/>
              </a:solidFill>
            </a:endParaRPr>
          </a:p>
        </p:txBody>
      </p:sp>
      <p:sp>
        <p:nvSpPr>
          <p:cNvPr id="10" name="Espace réservé pour une image  4"/>
          <p:cNvSpPr>
            <a:spLocks noGrp="1"/>
          </p:cNvSpPr>
          <p:nvPr>
            <p:ph type="pic" sz="quarter" idx="14" hasCustomPrompt="1"/>
          </p:nvPr>
        </p:nvSpPr>
        <p:spPr bwMode="gray">
          <a:xfrm>
            <a:off x="2664616" y="1152548"/>
            <a:ext cx="1152000" cy="1152000"/>
          </a:xfrm>
        </p:spPr>
        <p:txBody>
          <a:bodyPr anchor="ctr" anchorCtr="0"/>
          <a:lstStyle>
            <a:lvl1pPr>
              <a:defRPr sz="1333"/>
            </a:lvl1pPr>
          </a:lstStyle>
          <a:p>
            <a:r>
              <a:rPr lang="en-US" noProof="0" dirty="0"/>
              <a:t>Select the icon to insert a picture</a:t>
            </a:r>
          </a:p>
        </p:txBody>
      </p:sp>
      <p:sp>
        <p:nvSpPr>
          <p:cNvPr id="8" name="Espace réservé du texte 7"/>
          <p:cNvSpPr>
            <a:spLocks noGrp="1"/>
          </p:cNvSpPr>
          <p:nvPr>
            <p:ph type="body" sz="quarter" idx="15" hasCustomPrompt="1"/>
          </p:nvPr>
        </p:nvSpPr>
        <p:spPr bwMode="gray">
          <a:xfrm>
            <a:off x="2112434" y="2314864"/>
            <a:ext cx="2256367" cy="1114136"/>
          </a:xfrm>
        </p:spPr>
        <p:txBody>
          <a:bodyPr/>
          <a:lstStyle>
            <a:lvl1pPr>
              <a:defRPr sz="1333">
                <a:solidFill>
                  <a:schemeClr val="bg1"/>
                </a:solidFill>
              </a:defRPr>
            </a:lvl1pPr>
          </a:lstStyle>
          <a:p>
            <a:pPr lvl="0"/>
            <a:r>
              <a:rPr lang="en-US" noProof="0" dirty="0"/>
              <a:t>Text</a:t>
            </a:r>
          </a:p>
        </p:txBody>
      </p:sp>
      <p:sp>
        <p:nvSpPr>
          <p:cNvPr id="14" name="Espace réservé pour une image  4"/>
          <p:cNvSpPr>
            <a:spLocks noGrp="1"/>
          </p:cNvSpPr>
          <p:nvPr>
            <p:ph type="pic" sz="quarter" idx="16" hasCustomPrompt="1"/>
          </p:nvPr>
        </p:nvSpPr>
        <p:spPr bwMode="gray">
          <a:xfrm>
            <a:off x="5520000" y="1152548"/>
            <a:ext cx="1152000" cy="1152000"/>
          </a:xfrm>
        </p:spPr>
        <p:txBody>
          <a:bodyPr anchor="ctr" anchorCtr="0"/>
          <a:lstStyle>
            <a:lvl1pPr>
              <a:defRPr sz="1333"/>
            </a:lvl1pPr>
          </a:lstStyle>
          <a:p>
            <a:r>
              <a:rPr lang="en-US" noProof="0" dirty="0"/>
              <a:t>Select the icon to insert a picture</a:t>
            </a:r>
          </a:p>
        </p:txBody>
      </p:sp>
      <p:sp>
        <p:nvSpPr>
          <p:cNvPr id="15" name="Espace réservé du texte 7"/>
          <p:cNvSpPr>
            <a:spLocks noGrp="1"/>
          </p:cNvSpPr>
          <p:nvPr>
            <p:ph type="body" sz="quarter" idx="17" hasCustomPrompt="1"/>
          </p:nvPr>
        </p:nvSpPr>
        <p:spPr bwMode="gray">
          <a:xfrm>
            <a:off x="4967818" y="2314864"/>
            <a:ext cx="2256367" cy="1114136"/>
          </a:xfrm>
        </p:spPr>
        <p:txBody>
          <a:bodyPr/>
          <a:lstStyle>
            <a:lvl1pPr>
              <a:defRPr sz="1333">
                <a:solidFill>
                  <a:schemeClr val="bg1"/>
                </a:solidFill>
              </a:defRPr>
            </a:lvl1pPr>
          </a:lstStyle>
          <a:p>
            <a:pPr lvl="0"/>
            <a:r>
              <a:rPr lang="en-US" noProof="0" dirty="0"/>
              <a:t>Text</a:t>
            </a:r>
          </a:p>
        </p:txBody>
      </p:sp>
      <p:sp>
        <p:nvSpPr>
          <p:cNvPr id="16" name="Espace réservé pour une image  4"/>
          <p:cNvSpPr>
            <a:spLocks noGrp="1"/>
          </p:cNvSpPr>
          <p:nvPr>
            <p:ph type="pic" sz="quarter" idx="18" hasCustomPrompt="1"/>
          </p:nvPr>
        </p:nvSpPr>
        <p:spPr bwMode="gray">
          <a:xfrm>
            <a:off x="8400256" y="1152548"/>
            <a:ext cx="1152000" cy="1152000"/>
          </a:xfrm>
        </p:spPr>
        <p:txBody>
          <a:bodyPr anchor="ctr" anchorCtr="0"/>
          <a:lstStyle>
            <a:lvl1pPr>
              <a:defRPr sz="1333"/>
            </a:lvl1pPr>
          </a:lstStyle>
          <a:p>
            <a:r>
              <a:rPr lang="en-US" noProof="0" dirty="0"/>
              <a:t>Select the icon to insert a picture</a:t>
            </a:r>
          </a:p>
        </p:txBody>
      </p:sp>
      <p:sp>
        <p:nvSpPr>
          <p:cNvPr id="17" name="Espace réservé du texte 7"/>
          <p:cNvSpPr>
            <a:spLocks noGrp="1"/>
          </p:cNvSpPr>
          <p:nvPr>
            <p:ph type="body" sz="quarter" idx="19" hasCustomPrompt="1"/>
          </p:nvPr>
        </p:nvSpPr>
        <p:spPr bwMode="gray">
          <a:xfrm>
            <a:off x="7848074" y="2314864"/>
            <a:ext cx="2256367" cy="1114136"/>
          </a:xfrm>
        </p:spPr>
        <p:txBody>
          <a:bodyPr/>
          <a:lstStyle>
            <a:lvl1pPr>
              <a:defRPr sz="1333">
                <a:solidFill>
                  <a:schemeClr val="bg1"/>
                </a:solidFill>
              </a:defRPr>
            </a:lvl1pPr>
          </a:lstStyle>
          <a:p>
            <a:pPr lvl="0"/>
            <a:r>
              <a:rPr lang="en-US" noProof="0" dirty="0"/>
              <a:t>Text</a:t>
            </a:r>
          </a:p>
        </p:txBody>
      </p:sp>
      <p:sp>
        <p:nvSpPr>
          <p:cNvPr id="18" name="Espace réservé du texte 17"/>
          <p:cNvSpPr>
            <a:spLocks noGrp="1"/>
          </p:cNvSpPr>
          <p:nvPr>
            <p:ph type="body" sz="quarter" idx="20" hasCustomPrompt="1"/>
          </p:nvPr>
        </p:nvSpPr>
        <p:spPr bwMode="gray">
          <a:xfrm>
            <a:off x="478367" y="4389107"/>
            <a:ext cx="11235267" cy="1488877"/>
          </a:xfrm>
        </p:spPr>
        <p:txBody>
          <a:bodyPr/>
          <a:lstStyle>
            <a:lvl1pPr>
              <a:defRPr sz="1333"/>
            </a:lvl1pPr>
            <a:lvl2pPr>
              <a:defRPr sz="1333"/>
            </a:lvl2pPr>
          </a:lstStyle>
          <a:p>
            <a:pPr lvl="0"/>
            <a:r>
              <a:rPr lang="en-US" noProof="0" dirty="0"/>
              <a:t>Text level 1</a:t>
            </a:r>
          </a:p>
          <a:p>
            <a:pPr lvl="1"/>
            <a:r>
              <a:rPr lang="en-US" noProof="0" dirty="0"/>
              <a:t>Text level 2</a:t>
            </a:r>
          </a:p>
        </p:txBody>
      </p:sp>
      <p:sp>
        <p:nvSpPr>
          <p:cNvPr id="5" name="Espace réservé pour une image  4"/>
          <p:cNvSpPr>
            <a:spLocks noGrp="1"/>
          </p:cNvSpPr>
          <p:nvPr>
            <p:ph type="pic" sz="quarter" idx="13" hasCustomPrompt="1"/>
          </p:nvPr>
        </p:nvSpPr>
        <p:spPr bwMode="gray">
          <a:xfrm>
            <a:off x="0" y="0"/>
            <a:ext cx="12192000" cy="3912000"/>
          </a:xfrm>
          <a:solidFill>
            <a:srgbClr val="EAEAEA"/>
          </a:solidFill>
        </p:spPr>
        <p:txBody>
          <a:bodyPr bIns="1548000" anchor="ctr" anchorCtr="0"/>
          <a:lstStyle>
            <a:lvl1pPr>
              <a:defRPr sz="1333"/>
            </a:lvl1pPr>
          </a:lstStyle>
          <a:p>
            <a:r>
              <a:rPr lang="en-US" noProof="0" dirty="0"/>
              <a:t>Select the icon to insert a picture then </a:t>
            </a:r>
            <a:br>
              <a:rPr lang="en-US" noProof="0" dirty="0"/>
            </a:br>
            <a:r>
              <a:rPr lang="en-US" noProof="0" dirty="0"/>
              <a:t>place the visual into background position </a:t>
            </a:r>
            <a:br>
              <a:rPr lang="en-US" noProof="0" dirty="0"/>
            </a:br>
            <a:r>
              <a:rPr lang="en-US" noProof="0" dirty="0"/>
              <a:t>(Right click with the mouse / Send to back)</a:t>
            </a:r>
          </a:p>
        </p:txBody>
      </p:sp>
    </p:spTree>
    <p:extLst>
      <p:ext uri="{BB962C8B-B14F-4D97-AF65-F5344CB8AC3E}">
        <p14:creationId xmlns:p14="http://schemas.microsoft.com/office/powerpoint/2010/main" val="98218942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5_Titre et contenu">
    <p:spTree>
      <p:nvGrpSpPr>
        <p:cNvPr id="1" name=""/>
        <p:cNvGrpSpPr/>
        <p:nvPr/>
      </p:nvGrpSpPr>
      <p:grpSpPr>
        <a:xfrm>
          <a:off x="0" y="0"/>
          <a:ext cx="0" cy="0"/>
          <a:chOff x="0" y="0"/>
          <a:chExt cx="0" cy="0"/>
        </a:xfrm>
      </p:grpSpPr>
      <p:sp>
        <p:nvSpPr>
          <p:cNvPr id="17" name="Espace réservé du texte 4"/>
          <p:cNvSpPr>
            <a:spLocks noGrp="1"/>
          </p:cNvSpPr>
          <p:nvPr>
            <p:ph type="body" sz="quarter" idx="18" hasCustomPrompt="1"/>
          </p:nvPr>
        </p:nvSpPr>
        <p:spPr bwMode="gray">
          <a:xfrm>
            <a:off x="7540504" y="4149080"/>
            <a:ext cx="1248139" cy="1104000"/>
          </a:xfrm>
          <a:prstGeom prst="callout2">
            <a:avLst>
              <a:gd name="adj1" fmla="val 43813"/>
              <a:gd name="adj2" fmla="val -10594"/>
              <a:gd name="adj3" fmla="val 43813"/>
              <a:gd name="adj4" fmla="val -42349"/>
              <a:gd name="adj5" fmla="val 3930"/>
              <a:gd name="adj6" fmla="val -74212"/>
            </a:avLst>
          </a:prstGeom>
          <a:ln>
            <a:solidFill>
              <a:schemeClr val="accent1"/>
            </a:solidFill>
          </a:ln>
        </p:spPr>
        <p:txBody>
          <a:bodyPr anchor="ctr" anchorCtr="0"/>
          <a:lstStyle>
            <a:lvl1pPr algn="l">
              <a:defRPr sz="1333" b="1">
                <a:solidFill>
                  <a:schemeClr val="accent1"/>
                </a:solidFill>
              </a:defRPr>
            </a:lvl1pPr>
            <a:lvl2pPr algn="l">
              <a:defRPr sz="1333" b="1">
                <a:solidFill>
                  <a:schemeClr val="accent1"/>
                </a:solidFill>
              </a:defRPr>
            </a:lvl2pPr>
          </a:lstStyle>
          <a:p>
            <a:pPr lvl="0"/>
            <a:r>
              <a:rPr lang="en-US" noProof="0" dirty="0"/>
              <a:t>Text level 1</a:t>
            </a:r>
          </a:p>
          <a:p>
            <a:pPr lvl="1"/>
            <a:r>
              <a:rPr lang="en-US" noProof="0" dirty="0"/>
              <a:t>Text level 2</a:t>
            </a:r>
          </a:p>
        </p:txBody>
      </p:sp>
      <p:sp>
        <p:nvSpPr>
          <p:cNvPr id="15" name="Espace réservé du texte 4"/>
          <p:cNvSpPr>
            <a:spLocks noGrp="1"/>
          </p:cNvSpPr>
          <p:nvPr>
            <p:ph type="body" sz="quarter" idx="16" hasCustomPrompt="1"/>
          </p:nvPr>
        </p:nvSpPr>
        <p:spPr bwMode="gray">
          <a:xfrm>
            <a:off x="3359696" y="4149080"/>
            <a:ext cx="1248139" cy="1104000"/>
          </a:xfrm>
          <a:prstGeom prst="callout2">
            <a:avLst>
              <a:gd name="adj1" fmla="val 44643"/>
              <a:gd name="adj2" fmla="val 114996"/>
              <a:gd name="adj3" fmla="val 44643"/>
              <a:gd name="adj4" fmla="val 145669"/>
              <a:gd name="adj5" fmla="val 3100"/>
              <a:gd name="adj6" fmla="val 176234"/>
            </a:avLst>
          </a:prstGeom>
          <a:ln>
            <a:solidFill>
              <a:schemeClr val="accent5"/>
            </a:solidFill>
          </a:ln>
        </p:spPr>
        <p:txBody>
          <a:bodyPr anchor="ctr" anchorCtr="0"/>
          <a:lstStyle>
            <a:lvl1pPr algn="r">
              <a:defRPr sz="1333" b="1">
                <a:solidFill>
                  <a:schemeClr val="accent5"/>
                </a:solidFill>
              </a:defRPr>
            </a:lvl1pPr>
            <a:lvl2pPr algn="r">
              <a:defRPr sz="1333" b="1">
                <a:solidFill>
                  <a:schemeClr val="accent5"/>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3359697" y="1744572"/>
            <a:ext cx="1248139" cy="1104000"/>
          </a:xfrm>
          <a:prstGeom prst="callout2">
            <a:avLst>
              <a:gd name="adj1" fmla="val 48795"/>
              <a:gd name="adj2" fmla="val 112793"/>
              <a:gd name="adj3" fmla="val 48795"/>
              <a:gd name="adj4" fmla="val 145669"/>
              <a:gd name="adj5" fmla="val 85303"/>
              <a:gd name="adj6" fmla="val 178437"/>
            </a:avLst>
          </a:prstGeom>
          <a:ln>
            <a:solidFill>
              <a:schemeClr val="bg2"/>
            </a:solidFill>
          </a:ln>
        </p:spPr>
        <p:txBody>
          <a:bodyPr anchor="ctr" anchorCtr="0"/>
          <a:lstStyle>
            <a:lvl1pPr algn="r">
              <a:defRPr sz="1333" b="1">
                <a:solidFill>
                  <a:schemeClr val="bg2"/>
                </a:solidFill>
              </a:defRPr>
            </a:lvl1pPr>
            <a:lvl2pPr algn="r">
              <a:defRPr sz="1333" b="1">
                <a:solidFill>
                  <a:schemeClr val="bg2"/>
                </a:solidFill>
              </a:defRPr>
            </a:lvl2pPr>
          </a:lstStyle>
          <a:p>
            <a:pPr lvl="0"/>
            <a:r>
              <a:rPr lang="en-US" noProof="0" dirty="0"/>
              <a:t>Text level 1</a:t>
            </a:r>
          </a:p>
          <a:p>
            <a:pPr lvl="1"/>
            <a:r>
              <a:rPr lang="en-US" noProof="0" dirty="0"/>
              <a:t>Text level 2</a:t>
            </a:r>
          </a:p>
        </p:txBody>
      </p:sp>
      <p:sp>
        <p:nvSpPr>
          <p:cNvPr id="20" name="Espace réservé du texte 4"/>
          <p:cNvSpPr>
            <a:spLocks noGrp="1"/>
          </p:cNvSpPr>
          <p:nvPr>
            <p:ph type="body" sz="quarter" idx="21" hasCustomPrompt="1"/>
          </p:nvPr>
        </p:nvSpPr>
        <p:spPr bwMode="gray">
          <a:xfrm>
            <a:off x="7540504" y="1738983"/>
            <a:ext cx="1248139" cy="1104000"/>
          </a:xfrm>
          <a:prstGeom prst="callout2">
            <a:avLst>
              <a:gd name="adj1" fmla="val 48795"/>
              <a:gd name="adj2" fmla="val -10594"/>
              <a:gd name="adj3" fmla="val 48794"/>
              <a:gd name="adj4" fmla="val -43818"/>
              <a:gd name="adj5" fmla="val 81982"/>
              <a:gd name="adj6" fmla="val -72009"/>
            </a:avLst>
          </a:prstGeom>
          <a:ln>
            <a:solidFill>
              <a:srgbClr val="FFCD1E"/>
            </a:solidFill>
          </a:ln>
        </p:spPr>
        <p:txBody>
          <a:bodyPr anchor="ctr" anchorCtr="0"/>
          <a:lstStyle>
            <a:lvl1pPr algn="l">
              <a:defRPr sz="1333" b="1">
                <a:solidFill>
                  <a:srgbClr val="FFCD1E"/>
                </a:solidFill>
              </a:defRPr>
            </a:lvl1pPr>
            <a:lvl2pPr algn="l">
              <a:defRPr sz="1333" b="1">
                <a:solidFill>
                  <a:srgbClr val="FFCD1E"/>
                </a:solidFill>
              </a:defRPr>
            </a:lvl2pPr>
          </a:lstStyle>
          <a:p>
            <a:pPr lvl="0"/>
            <a:r>
              <a:rPr lang="en-US" noProof="0" dirty="0"/>
              <a:t>Text level 1</a:t>
            </a:r>
          </a:p>
          <a:p>
            <a:pPr lvl="1"/>
            <a:r>
              <a:rPr lang="en-US" noProof="0" dirty="0"/>
              <a:t>Text level 2</a:t>
            </a:r>
          </a:p>
        </p:txBody>
      </p:sp>
      <p:sp>
        <p:nvSpPr>
          <p:cNvPr id="11" name="Espace réservé de la date 10"/>
          <p:cNvSpPr>
            <a:spLocks noGrp="1"/>
          </p:cNvSpPr>
          <p:nvPr>
            <p:ph type="dt" sz="half" idx="10"/>
          </p:nvPr>
        </p:nvSpPr>
        <p:spPr bwMode="gray"/>
        <p:txBody>
          <a:bodyPr/>
          <a:lstStyle/>
          <a:p>
            <a:r>
              <a:rPr lang="fr-FR">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smtClean="0">
                <a:solidFill>
                  <a:srgbClr val="464B69"/>
                </a:solidFill>
              </a:rPr>
              <a:pPr/>
              <a:t>‹N°›</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r>
              <a:rPr lang="en-US">
                <a:solidFill>
                  <a:srgbClr val="464B69"/>
                </a:solidFill>
              </a:rPr>
              <a:t>Presentation title</a:t>
            </a:r>
            <a:endParaRPr lang="en-US" dirty="0">
              <a:solidFill>
                <a:srgbClr val="464B69"/>
              </a:solidFill>
            </a:endParaRPr>
          </a:p>
        </p:txBody>
      </p:sp>
      <p:sp>
        <p:nvSpPr>
          <p:cNvPr id="14" name="Espace réservé du texte 4"/>
          <p:cNvSpPr>
            <a:spLocks noGrp="1"/>
          </p:cNvSpPr>
          <p:nvPr>
            <p:ph type="body" sz="quarter" idx="15" hasCustomPrompt="1"/>
          </p:nvPr>
        </p:nvSpPr>
        <p:spPr bwMode="gray">
          <a:xfrm>
            <a:off x="1055440" y="1738983"/>
            <a:ext cx="2304256" cy="1017943"/>
          </a:xfrm>
          <a:prstGeom prst="roundRect">
            <a:avLst>
              <a:gd name="adj" fmla="val 5779"/>
            </a:avLst>
          </a:prstGeom>
          <a:solidFill>
            <a:schemeClr val="bg2"/>
          </a:solidFill>
        </p:spPr>
        <p:txBody>
          <a:bodyPr lIns="72000" tIns="36000" rIns="36000" bIns="36000" anchor="ctr" anchorCtr="0"/>
          <a:lstStyle>
            <a:lvl1pPr algn="l">
              <a:lnSpc>
                <a:spcPct val="100000"/>
              </a:lnSpc>
              <a:defRPr>
                <a:solidFill>
                  <a:schemeClr val="bg1"/>
                </a:solidFill>
              </a:defRPr>
            </a:lvl1pPr>
            <a:lvl2pPr algn="l">
              <a:lnSpc>
                <a:spcPct val="100000"/>
              </a:lnSpc>
              <a:spcBef>
                <a:spcPts val="0"/>
              </a:spcBef>
              <a:spcAft>
                <a:spcPts val="0"/>
              </a:spcAft>
              <a:defRPr>
                <a:solidFill>
                  <a:schemeClr val="bg1"/>
                </a:solidFill>
              </a:defRPr>
            </a:lvl2pPr>
          </a:lstStyle>
          <a:p>
            <a:pPr lvl="0"/>
            <a:r>
              <a:rPr lang="en-US" noProof="0" dirty="0"/>
              <a:t>Text level 1</a:t>
            </a:r>
          </a:p>
          <a:p>
            <a:pPr lvl="1"/>
            <a:r>
              <a:rPr lang="en-US" noProof="0" dirty="0"/>
              <a:t>Text level 2</a:t>
            </a:r>
          </a:p>
        </p:txBody>
      </p:sp>
      <p:sp>
        <p:nvSpPr>
          <p:cNvPr id="3" name="Titre 2"/>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16" name="Espace réservé du texte 4"/>
          <p:cNvSpPr>
            <a:spLocks noGrp="1"/>
          </p:cNvSpPr>
          <p:nvPr>
            <p:ph type="body" sz="quarter" idx="17" hasCustomPrompt="1"/>
          </p:nvPr>
        </p:nvSpPr>
        <p:spPr bwMode="gray">
          <a:xfrm>
            <a:off x="1055439" y="4143491"/>
            <a:ext cx="2304256" cy="1017943"/>
          </a:xfrm>
          <a:prstGeom prst="roundRect">
            <a:avLst>
              <a:gd name="adj" fmla="val 5779"/>
            </a:avLst>
          </a:prstGeom>
          <a:solidFill>
            <a:schemeClr val="accent5"/>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8871143" y="4149081"/>
            <a:ext cx="2304256" cy="1017943"/>
          </a:xfrm>
          <a:prstGeom prst="roundRect">
            <a:avLst>
              <a:gd name="adj" fmla="val 5779"/>
            </a:avLst>
          </a:prstGeom>
          <a:solidFill>
            <a:schemeClr val="accent1"/>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9" name="Espace réservé du texte 4"/>
          <p:cNvSpPr>
            <a:spLocks noGrp="1"/>
          </p:cNvSpPr>
          <p:nvPr>
            <p:ph type="body" sz="quarter" idx="20" hasCustomPrompt="1"/>
          </p:nvPr>
        </p:nvSpPr>
        <p:spPr bwMode="gray">
          <a:xfrm>
            <a:off x="8871143" y="1738983"/>
            <a:ext cx="2304256" cy="1017943"/>
          </a:xfrm>
          <a:prstGeom prst="roundRect">
            <a:avLst>
              <a:gd name="adj" fmla="val 5779"/>
            </a:avLst>
          </a:prstGeom>
          <a:solidFill>
            <a:srgbClr val="FFCD1E"/>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5" name="Espace réservé du texte 4"/>
          <p:cNvSpPr>
            <a:spLocks noGrp="1"/>
          </p:cNvSpPr>
          <p:nvPr>
            <p:ph type="body" sz="quarter" idx="13" hasCustomPrompt="1"/>
          </p:nvPr>
        </p:nvSpPr>
        <p:spPr bwMode="gray">
          <a:xfrm>
            <a:off x="5135894" y="2468034"/>
            <a:ext cx="1921073" cy="1921933"/>
          </a:xfrm>
          <a:prstGeom prst="ellipse">
            <a:avLst/>
          </a:prstGeom>
          <a:solidFill>
            <a:schemeClr val="tx2"/>
          </a:solidFill>
        </p:spPr>
        <p:txBody>
          <a:bodyPr anchor="ctr" anchorCtr="0"/>
          <a:lstStyle>
            <a:lvl1pPr>
              <a:lnSpc>
                <a:spcPct val="100000"/>
              </a:lnSpc>
              <a:defRPr sz="1333">
                <a:solidFill>
                  <a:schemeClr val="bg1"/>
                </a:solidFill>
              </a:defRPr>
            </a:lvl1pPr>
            <a:lvl2pPr>
              <a:lnSpc>
                <a:spcPct val="100000"/>
              </a:lnSpc>
              <a:defRPr sz="1333">
                <a:solidFill>
                  <a:schemeClr val="bg1"/>
                </a:solidFill>
              </a:defRPr>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10107357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6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fr-FR">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smtClean="0">
                <a:solidFill>
                  <a:srgbClr val="464B69"/>
                </a:solidFill>
              </a:rPr>
              <a:pPr/>
              <a:t>‹N°›</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r>
              <a:rPr lang="en-US">
                <a:solidFill>
                  <a:srgbClr val="464B69"/>
                </a:solidFill>
              </a:rPr>
              <a:t>Presentation title</a:t>
            </a:r>
            <a:endParaRPr lang="en-US" dirty="0">
              <a:solidFill>
                <a:srgbClr val="464B69"/>
              </a:solidFill>
            </a:endParaRPr>
          </a:p>
        </p:txBody>
      </p:sp>
      <p:sp>
        <p:nvSpPr>
          <p:cNvPr id="4" name="Titre 3"/>
          <p:cNvSpPr>
            <a:spLocks noGrp="1"/>
          </p:cNvSpPr>
          <p:nvPr>
            <p:ph type="title" hasCustomPrompt="1"/>
          </p:nvPr>
        </p:nvSpPr>
        <p:spPr bwMode="gray">
          <a:xfrm>
            <a:off x="478368" y="584885"/>
            <a:ext cx="11235267" cy="443849"/>
          </a:xfrm>
        </p:spPr>
        <p:txBody>
          <a:bodyPr/>
          <a:lstStyle>
            <a:lvl1pPr>
              <a:defRPr/>
            </a:lvl1pPr>
          </a:lstStyle>
          <a:p>
            <a:r>
              <a:rPr lang="en-US" noProof="0" dirty="0"/>
              <a:t>Title</a:t>
            </a:r>
          </a:p>
        </p:txBody>
      </p:sp>
      <p:sp>
        <p:nvSpPr>
          <p:cNvPr id="5" name="Espace réservé du tableau 4"/>
          <p:cNvSpPr>
            <a:spLocks noGrp="1"/>
          </p:cNvSpPr>
          <p:nvPr>
            <p:ph type="tbl" sz="quarter" idx="13" hasCustomPrompt="1"/>
          </p:nvPr>
        </p:nvSpPr>
        <p:spPr bwMode="gray">
          <a:xfrm>
            <a:off x="478367" y="1028701"/>
            <a:ext cx="11235267" cy="4944583"/>
          </a:xfrm>
        </p:spPr>
        <p:txBody>
          <a:bodyPr tIns="540000" anchor="ctr" anchorCtr="0"/>
          <a:lstStyle>
            <a:lvl1pPr>
              <a:defRPr/>
            </a:lvl1pPr>
          </a:lstStyle>
          <a:p>
            <a:r>
              <a:rPr lang="en-US" noProof="0" dirty="0"/>
              <a:t>Table</a:t>
            </a:r>
          </a:p>
        </p:txBody>
      </p:sp>
      <p:sp>
        <p:nvSpPr>
          <p:cNvPr id="7" name="Rectangle 6"/>
          <p:cNvSpPr/>
          <p:nvPr userDrawn="1"/>
        </p:nvSpPr>
        <p:spPr>
          <a:xfrm>
            <a:off x="0" y="0"/>
            <a:ext cx="14333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sz="2400">
              <a:solidFill>
                <a:srgbClr val="FFFFFF"/>
              </a:solidFill>
            </a:endParaRPr>
          </a:p>
        </p:txBody>
      </p:sp>
    </p:spTree>
    <p:extLst>
      <p:ext uri="{BB962C8B-B14F-4D97-AF65-F5344CB8AC3E}">
        <p14:creationId xmlns:p14="http://schemas.microsoft.com/office/powerpoint/2010/main" val="25446581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7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fr-FR">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smtClean="0">
                <a:solidFill>
                  <a:srgbClr val="464B69"/>
                </a:solidFill>
              </a:rPr>
              <a:pPr/>
              <a:t>‹N°›</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r>
              <a:rPr lang="en-US">
                <a:solidFill>
                  <a:srgbClr val="464B69"/>
                </a:solidFill>
              </a:rPr>
              <a:t>Presentation title</a:t>
            </a:r>
            <a:endParaRPr lang="en-US" dirty="0">
              <a:solidFill>
                <a:srgbClr val="464B69"/>
              </a:solidFill>
            </a:endParaRPr>
          </a:p>
        </p:txBody>
      </p:sp>
      <p:sp>
        <p:nvSpPr>
          <p:cNvPr id="4" name="Titre 3"/>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478368"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459377" y="246803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5" hasCustomPrompt="1"/>
          </p:nvPr>
        </p:nvSpPr>
        <p:spPr bwMode="gray">
          <a:xfrm>
            <a:off x="2159564" y="2459636"/>
            <a:ext cx="912000" cy="912000"/>
          </a:xfrm>
          <a:prstGeom prst="ellipse">
            <a:avLst/>
          </a:prstGeom>
          <a:solidFill>
            <a:srgbClr val="DCDC00"/>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5" name="Espace réservé du texte 4"/>
          <p:cNvSpPr>
            <a:spLocks noGrp="1"/>
          </p:cNvSpPr>
          <p:nvPr>
            <p:ph type="body" sz="quarter" idx="16" hasCustomPrompt="1"/>
          </p:nvPr>
        </p:nvSpPr>
        <p:spPr bwMode="gray">
          <a:xfrm>
            <a:off x="459377" y="355278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6" name="Espace réservé du texte 4"/>
          <p:cNvSpPr>
            <a:spLocks noGrp="1"/>
          </p:cNvSpPr>
          <p:nvPr>
            <p:ph type="body" sz="quarter" idx="17" hasCustomPrompt="1"/>
          </p:nvPr>
        </p:nvSpPr>
        <p:spPr bwMode="gray">
          <a:xfrm>
            <a:off x="2159564" y="3544385"/>
            <a:ext cx="912000" cy="912000"/>
          </a:xfrm>
          <a:prstGeom prst="ellipse">
            <a:avLst/>
          </a:prstGeom>
          <a:solidFill>
            <a:schemeClr val="accent6"/>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7" name="Espace réservé du texte 4"/>
          <p:cNvSpPr>
            <a:spLocks noGrp="1"/>
          </p:cNvSpPr>
          <p:nvPr>
            <p:ph type="body" sz="quarter" idx="18" hasCustomPrompt="1"/>
          </p:nvPr>
        </p:nvSpPr>
        <p:spPr bwMode="gray">
          <a:xfrm>
            <a:off x="459377" y="4637531"/>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2159564" y="4629133"/>
            <a:ext cx="912000" cy="912000"/>
          </a:xfrm>
          <a:prstGeom prst="ellipse">
            <a:avLst/>
          </a:prstGeom>
          <a:solidFill>
            <a:schemeClr val="bg2"/>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9" name="Espace réservé du texte 4"/>
          <p:cNvSpPr>
            <a:spLocks noGrp="1"/>
          </p:cNvSpPr>
          <p:nvPr>
            <p:ph type="body" sz="quarter" idx="20" hasCustomPrompt="1"/>
          </p:nvPr>
        </p:nvSpPr>
        <p:spPr bwMode="gray">
          <a:xfrm>
            <a:off x="4284324"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8" name="Espace réservé du graphique 7"/>
          <p:cNvSpPr>
            <a:spLocks noGrp="1"/>
          </p:cNvSpPr>
          <p:nvPr>
            <p:ph type="chart" sz="quarter" idx="21" hasCustomPrompt="1"/>
          </p:nvPr>
        </p:nvSpPr>
        <p:spPr bwMode="gray">
          <a:xfrm>
            <a:off x="4284324" y="2372884"/>
            <a:ext cx="3624000" cy="3505101"/>
          </a:xfrm>
        </p:spPr>
        <p:txBody>
          <a:bodyPr tIns="540000" anchor="ctr" anchorCtr="0"/>
          <a:lstStyle>
            <a:lvl1pPr>
              <a:defRPr/>
            </a:lvl1pPr>
          </a:lstStyle>
          <a:p>
            <a:r>
              <a:rPr lang="en-US" noProof="0" dirty="0"/>
              <a:t>Graph</a:t>
            </a:r>
          </a:p>
        </p:txBody>
      </p:sp>
      <p:sp>
        <p:nvSpPr>
          <p:cNvPr id="20" name="Espace réservé du texte 4"/>
          <p:cNvSpPr>
            <a:spLocks noGrp="1"/>
          </p:cNvSpPr>
          <p:nvPr>
            <p:ph type="body" sz="quarter" idx="22" hasCustomPrompt="1"/>
          </p:nvPr>
        </p:nvSpPr>
        <p:spPr bwMode="gray">
          <a:xfrm>
            <a:off x="8069456"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21" name="Espace réservé du graphique 7"/>
          <p:cNvSpPr>
            <a:spLocks noGrp="1"/>
          </p:cNvSpPr>
          <p:nvPr>
            <p:ph type="chart" sz="quarter" idx="23" hasCustomPrompt="1"/>
          </p:nvPr>
        </p:nvSpPr>
        <p:spPr bwMode="gray">
          <a:xfrm>
            <a:off x="8069456" y="2372884"/>
            <a:ext cx="3624000" cy="3505101"/>
          </a:xfrm>
        </p:spPr>
        <p:txBody>
          <a:bodyPr tIns="540000" anchor="ctr" anchorCtr="0"/>
          <a:lstStyle/>
          <a:p>
            <a:r>
              <a:rPr lang="en-US" noProof="0" dirty="0"/>
              <a:t>Graph</a:t>
            </a:r>
          </a:p>
        </p:txBody>
      </p:sp>
    </p:spTree>
    <p:extLst>
      <p:ext uri="{BB962C8B-B14F-4D97-AF65-F5344CB8AC3E}">
        <p14:creationId xmlns:p14="http://schemas.microsoft.com/office/powerpoint/2010/main" val="107605769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8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r>
              <a:rPr lang="fr-FR">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smtClean="0">
                <a:solidFill>
                  <a:srgbClr val="464B69"/>
                </a:solidFill>
              </a:rPr>
              <a:pPr/>
              <a:t>‹N°›</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r>
              <a:rPr lang="en-US">
                <a:solidFill>
                  <a:srgbClr val="464B69"/>
                </a:solidFill>
              </a:rPr>
              <a:t>Presentation title</a:t>
            </a:r>
            <a:endParaRPr lang="en-US" dirty="0">
              <a:solidFill>
                <a:srgbClr val="464B69"/>
              </a:solidFill>
            </a:endParaRPr>
          </a:p>
        </p:txBody>
      </p:sp>
      <p:sp>
        <p:nvSpPr>
          <p:cNvPr id="4" name="Titre 3"/>
          <p:cNvSpPr>
            <a:spLocks noGrp="1"/>
          </p:cNvSpPr>
          <p:nvPr>
            <p:ph type="title" hasCustomPrompt="1"/>
          </p:nvPr>
        </p:nvSpPr>
        <p:spPr bwMode="gray"/>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2556084" y="2409550"/>
            <a:ext cx="1678517" cy="1680633"/>
          </a:xfrm>
          <a:prstGeom prst="ellipse">
            <a:avLst/>
          </a:prstGeom>
          <a:solidFill>
            <a:srgbClr val="DCDC00"/>
          </a:solidFill>
        </p:spPr>
        <p:txBody>
          <a:bodyPr anchor="ctr" anchorCtr="0"/>
          <a:lstStyle>
            <a:lvl1pPr>
              <a:defRPr sz="2933">
                <a:solidFill>
                  <a:schemeClr val="accent4"/>
                </a:solidFill>
              </a:defRPr>
            </a:lvl1pPr>
          </a:lstStyle>
          <a:p>
            <a:pPr lvl="0"/>
            <a:r>
              <a:rPr lang="en-US" noProof="0" dirty="0"/>
              <a:t>+00%</a:t>
            </a:r>
          </a:p>
        </p:txBody>
      </p:sp>
      <p:sp>
        <p:nvSpPr>
          <p:cNvPr id="8" name="Espace réservé du texte 7"/>
          <p:cNvSpPr>
            <a:spLocks noGrp="1"/>
          </p:cNvSpPr>
          <p:nvPr>
            <p:ph type="body" sz="quarter" idx="14" hasCustomPrompt="1"/>
          </p:nvPr>
        </p:nvSpPr>
        <p:spPr bwMode="gray">
          <a:xfrm>
            <a:off x="217151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9" name="Espace réservé du texte 4"/>
          <p:cNvSpPr>
            <a:spLocks noGrp="1"/>
          </p:cNvSpPr>
          <p:nvPr>
            <p:ph type="body" sz="quarter" idx="15" hasCustomPrompt="1"/>
          </p:nvPr>
        </p:nvSpPr>
        <p:spPr bwMode="gray">
          <a:xfrm>
            <a:off x="5238144" y="2409550"/>
            <a:ext cx="1678517" cy="1680633"/>
          </a:xfrm>
          <a:prstGeom prst="ellipse">
            <a:avLst/>
          </a:prstGeom>
          <a:solidFill>
            <a:schemeClr val="bg2"/>
          </a:solidFill>
        </p:spPr>
        <p:txBody>
          <a:bodyPr anchor="ctr" anchorCtr="0"/>
          <a:lstStyle>
            <a:lvl1pPr>
              <a:defRPr sz="2933">
                <a:solidFill>
                  <a:schemeClr val="accent2"/>
                </a:solidFill>
              </a:defRPr>
            </a:lvl1pPr>
          </a:lstStyle>
          <a:p>
            <a:pPr lvl="0"/>
            <a:r>
              <a:rPr lang="en-US" noProof="0" dirty="0"/>
              <a:t>+00%</a:t>
            </a:r>
          </a:p>
        </p:txBody>
      </p:sp>
      <p:sp>
        <p:nvSpPr>
          <p:cNvPr id="10" name="Espace réservé du texte 7"/>
          <p:cNvSpPr>
            <a:spLocks noGrp="1"/>
          </p:cNvSpPr>
          <p:nvPr>
            <p:ph type="body" sz="quarter" idx="16" hasCustomPrompt="1"/>
          </p:nvPr>
        </p:nvSpPr>
        <p:spPr bwMode="gray">
          <a:xfrm>
            <a:off x="485357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7" hasCustomPrompt="1"/>
          </p:nvPr>
        </p:nvSpPr>
        <p:spPr bwMode="gray">
          <a:xfrm>
            <a:off x="7920203" y="2409550"/>
            <a:ext cx="1678517" cy="1680633"/>
          </a:xfrm>
          <a:prstGeom prst="ellipse">
            <a:avLst/>
          </a:prstGeom>
          <a:solidFill>
            <a:schemeClr val="accent5"/>
          </a:solidFill>
        </p:spPr>
        <p:txBody>
          <a:bodyPr anchor="ctr" anchorCtr="0"/>
          <a:lstStyle>
            <a:lvl1pPr>
              <a:defRPr sz="2933">
                <a:solidFill>
                  <a:srgbClr val="DCDC00"/>
                </a:solidFill>
              </a:defRPr>
            </a:lvl1pPr>
          </a:lstStyle>
          <a:p>
            <a:pPr lvl="0"/>
            <a:r>
              <a:rPr lang="en-US" noProof="0" dirty="0"/>
              <a:t>+00%</a:t>
            </a:r>
          </a:p>
        </p:txBody>
      </p:sp>
      <p:sp>
        <p:nvSpPr>
          <p:cNvPr id="15" name="Espace réservé du texte 7"/>
          <p:cNvSpPr>
            <a:spLocks noGrp="1"/>
          </p:cNvSpPr>
          <p:nvPr>
            <p:ph type="body" sz="quarter" idx="18" hasCustomPrompt="1"/>
          </p:nvPr>
        </p:nvSpPr>
        <p:spPr bwMode="gray">
          <a:xfrm>
            <a:off x="7535633"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37841520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9_Titre et contenu">
    <p:spTree>
      <p:nvGrpSpPr>
        <p:cNvPr id="1" name=""/>
        <p:cNvGrpSpPr/>
        <p:nvPr/>
      </p:nvGrpSpPr>
      <p:grpSpPr>
        <a:xfrm>
          <a:off x="0" y="0"/>
          <a:ext cx="0" cy="0"/>
          <a:chOff x="0" y="0"/>
          <a:chExt cx="0" cy="0"/>
        </a:xfrm>
      </p:grpSpPr>
      <p:sp>
        <p:nvSpPr>
          <p:cNvPr id="2" name="Rectangle à coins arrondis 1"/>
          <p:cNvSpPr/>
          <p:nvPr/>
        </p:nvSpPr>
        <p:spPr bwMode="gray">
          <a:xfrm>
            <a:off x="2096041" y="2639407"/>
            <a:ext cx="1248000" cy="1584000"/>
          </a:xfrm>
          <a:prstGeom prst="roundRect">
            <a:avLst>
              <a:gd name="adj" fmla="val 231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11" name="Espace réservé de la date 10"/>
          <p:cNvSpPr>
            <a:spLocks noGrp="1"/>
          </p:cNvSpPr>
          <p:nvPr>
            <p:ph type="dt" sz="half" idx="10"/>
          </p:nvPr>
        </p:nvSpPr>
        <p:spPr bwMode="gray"/>
        <p:txBody>
          <a:bodyPr/>
          <a:lstStyle/>
          <a:p>
            <a:r>
              <a:rPr lang="fr-FR">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733122C9-A0B9-462F-8757-0847AD287B63}" type="slidenum">
              <a:rPr lang="en-US" smtClean="0">
                <a:solidFill>
                  <a:srgbClr val="464B69"/>
                </a:solidFill>
              </a:rPr>
              <a:pPr/>
              <a:t>‹N°›</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r>
              <a:rPr lang="en-US">
                <a:solidFill>
                  <a:srgbClr val="464B69"/>
                </a:solidFill>
              </a:rPr>
              <a:t>Presentation title</a:t>
            </a:r>
            <a:endParaRPr lang="en-US" dirty="0">
              <a:solidFill>
                <a:srgbClr val="464B69"/>
              </a:solidFill>
            </a:endParaRPr>
          </a:p>
        </p:txBody>
      </p:sp>
      <p:sp>
        <p:nvSpPr>
          <p:cNvPr id="4" name="Titre 3"/>
          <p:cNvSpPr>
            <a:spLocks noGrp="1"/>
          </p:cNvSpPr>
          <p:nvPr>
            <p:ph type="title" hasCustomPrompt="1"/>
          </p:nvPr>
        </p:nvSpPr>
        <p:spPr bwMode="gray">
          <a:xfrm>
            <a:off x="2167980" y="3099312"/>
            <a:ext cx="1104123" cy="1056000"/>
          </a:xfrm>
          <a:solidFill>
            <a:schemeClr val="bg1"/>
          </a:solidFill>
        </p:spPr>
        <p:txBody>
          <a:bodyPr anchor="ctr" anchorCtr="0"/>
          <a:lstStyle>
            <a:lvl1pPr algn="ctr">
              <a:defRPr sz="6000"/>
            </a:lvl1pPr>
          </a:lstStyle>
          <a:p>
            <a:r>
              <a:rPr lang="en-US" noProof="0" dirty="0"/>
              <a:t>00</a:t>
            </a:r>
          </a:p>
        </p:txBody>
      </p:sp>
      <p:sp>
        <p:nvSpPr>
          <p:cNvPr id="5" name="Espace réservé du texte 4"/>
          <p:cNvSpPr>
            <a:spLocks noGrp="1"/>
          </p:cNvSpPr>
          <p:nvPr>
            <p:ph type="body" sz="quarter" idx="13" hasCustomPrompt="1"/>
          </p:nvPr>
        </p:nvSpPr>
        <p:spPr bwMode="gray">
          <a:xfrm>
            <a:off x="6096000" y="1911301"/>
            <a:ext cx="4176184" cy="3966683"/>
          </a:xfrm>
        </p:spPr>
        <p:txBody>
          <a:bodyPr/>
          <a:lstStyle>
            <a:lvl1pPr>
              <a:spcAft>
                <a:spcPts val="933"/>
              </a:spcAft>
              <a:defRPr sz="1333" b="1" cap="all" baseline="0">
                <a:solidFill>
                  <a:schemeClr val="accent5"/>
                </a:solidFill>
              </a:defRPr>
            </a:lvl1pPr>
            <a:lvl2pPr marL="0" indent="0">
              <a:buNone/>
              <a:defRPr sz="1333"/>
            </a:lvl2pPr>
            <a:lvl3pPr>
              <a:defRPr sz="1333"/>
            </a:lvl3pPr>
            <a:lvl4pPr>
              <a:defRPr sz="1333"/>
            </a:lvl4pPr>
            <a:lvl5pPr>
              <a:defRPr sz="1333"/>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8" name="Rectangle à coins arrondis 7"/>
          <p:cNvSpPr/>
          <p:nvPr userDrawn="1"/>
        </p:nvSpPr>
        <p:spPr bwMode="gray">
          <a:xfrm>
            <a:off x="2096041" y="2639407"/>
            <a:ext cx="1248000" cy="1584000"/>
          </a:xfrm>
          <a:prstGeom prst="roundRect">
            <a:avLst>
              <a:gd name="adj" fmla="val 231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Tree>
    <p:extLst>
      <p:ext uri="{BB962C8B-B14F-4D97-AF65-F5344CB8AC3E}">
        <p14:creationId xmlns:p14="http://schemas.microsoft.com/office/powerpoint/2010/main" val="28937859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End">
    <p:bg bwMode="gray">
      <p:bgPr>
        <a:solidFill>
          <a:schemeClr val="tx2"/>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pic>
        <p:nvPicPr>
          <p:cNvPr id="7" name="Imag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183899" y="3223466"/>
            <a:ext cx="1824000" cy="410733"/>
          </a:xfrm>
          <a:prstGeom prst="rect">
            <a:avLst/>
          </a:prstGeom>
        </p:spPr>
      </p:pic>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183899" y="3223466"/>
            <a:ext cx="1824000" cy="410733"/>
          </a:xfrm>
          <a:prstGeom prst="rect">
            <a:avLst/>
          </a:prstGeom>
        </p:spPr>
      </p:pic>
    </p:spTree>
    <p:extLst>
      <p:ext uri="{BB962C8B-B14F-4D97-AF65-F5344CB8AC3E}">
        <p14:creationId xmlns:p14="http://schemas.microsoft.com/office/powerpoint/2010/main" val="8325664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2_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78368" y="584884"/>
            <a:ext cx="11235267" cy="480000"/>
          </a:xfrm>
        </p:spPr>
        <p:txBody>
          <a:bodyPr/>
          <a:lstStyle>
            <a:lvl1pPr algn="l">
              <a:defRPr sz="2400" spc="-200">
                <a:solidFill>
                  <a:schemeClr val="accent4"/>
                </a:solidFill>
                <a:latin typeface="Arial Black" panose="020B0A04020102020204" pitchFamily="34" charset="0"/>
              </a:defRPr>
            </a:lvl1pPr>
          </a:lstStyle>
          <a:p>
            <a:r>
              <a:rPr lang="en-US" noProof="0" dirty="0"/>
              <a:t>TITLE</a:t>
            </a:r>
          </a:p>
        </p:txBody>
      </p:sp>
      <p:sp>
        <p:nvSpPr>
          <p:cNvPr id="8" name="Espace réservé du pied de page 7"/>
          <p:cNvSpPr>
            <a:spLocks noGrp="1"/>
          </p:cNvSpPr>
          <p:nvPr>
            <p:ph type="ftr" sz="quarter" idx="11"/>
          </p:nvPr>
        </p:nvSpPr>
        <p:spPr bwMode="gray"/>
        <p:txBody>
          <a:bodyPr/>
          <a:lstStyle>
            <a:lvl1pPr>
              <a:defRPr>
                <a:solidFill>
                  <a:schemeClr val="accent4"/>
                </a:solidFill>
              </a:defRPr>
            </a:lvl1pPr>
          </a:lstStyle>
          <a:p>
            <a:pPr defTabSz="1219170">
              <a:defRPr/>
            </a:pPr>
            <a:r>
              <a:rPr lang="en-US">
                <a:solidFill>
                  <a:srgbClr val="464B69"/>
                </a:solidFill>
              </a:rPr>
              <a:t>Presentation title</a:t>
            </a:r>
            <a:endParaRPr lang="en-US" dirty="0">
              <a:solidFill>
                <a:srgbClr val="464B69"/>
              </a:solidFill>
            </a:endParaRPr>
          </a:p>
        </p:txBody>
      </p:sp>
      <p:sp>
        <p:nvSpPr>
          <p:cNvPr id="9" name="Espace réservé du numéro de diapositive 8"/>
          <p:cNvSpPr>
            <a:spLocks noGrp="1"/>
          </p:cNvSpPr>
          <p:nvPr>
            <p:ph type="sldNum" sz="quarter" idx="12"/>
          </p:nvPr>
        </p:nvSpPr>
        <p:spPr bwMode="gray">
          <a:xfrm>
            <a:off x="143339" y="6069294"/>
            <a:ext cx="432064" cy="336037"/>
          </a:xfrm>
        </p:spPr>
        <p:txBody>
          <a:bodyPr/>
          <a:lstStyle/>
          <a:p>
            <a:pPr defTabSz="1219170">
              <a:defRPr/>
            </a:pPr>
            <a:fld id="{733122C9-A0B9-462F-8757-0847AD287B63}" type="slidenum">
              <a:rPr lang="en-US" smtClean="0">
                <a:solidFill>
                  <a:srgbClr val="464B69"/>
                </a:solidFill>
              </a:rPr>
              <a:pPr defTabSz="1219170">
                <a:defRPr/>
              </a:pPr>
              <a:t>‹N°›</a:t>
            </a:fld>
            <a:endParaRPr lang="en-US" dirty="0">
              <a:solidFill>
                <a:srgbClr val="464B69"/>
              </a:solidFill>
            </a:endParaRPr>
          </a:p>
        </p:txBody>
      </p:sp>
      <p:sp>
        <p:nvSpPr>
          <p:cNvPr id="4" name="Rectangle 3"/>
          <p:cNvSpPr/>
          <p:nvPr/>
        </p:nvSpPr>
        <p:spPr>
          <a:xfrm>
            <a:off x="0" y="0"/>
            <a:ext cx="14333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sz="2400">
              <a:solidFill>
                <a:srgbClr val="FFFFFF"/>
              </a:solidFill>
            </a:endParaRPr>
          </a:p>
        </p:txBody>
      </p:sp>
    </p:spTree>
    <p:extLst>
      <p:ext uri="{BB962C8B-B14F-4D97-AF65-F5344CB8AC3E}">
        <p14:creationId xmlns:p14="http://schemas.microsoft.com/office/powerpoint/2010/main" val="1231322118"/>
      </p:ext>
    </p:extLst>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1_Title &amp; text 2 column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78368" y="584884"/>
            <a:ext cx="11235267" cy="635871"/>
          </a:xfrm>
        </p:spPr>
        <p:txBody>
          <a:bodyPr/>
          <a:lstStyle>
            <a:lvl1pPr algn="l">
              <a:defRPr sz="2400">
                <a:solidFill>
                  <a:srgbClr val="464B69"/>
                </a:solidFill>
                <a:latin typeface="Arial Black" panose="020B0A04020102020204" pitchFamily="34" charset="0"/>
              </a:defRPr>
            </a:lvl1pPr>
          </a:lstStyle>
          <a:p>
            <a:r>
              <a:rPr lang="en-GB" noProof="0" dirty="0"/>
              <a:t>Title</a:t>
            </a:r>
          </a:p>
        </p:txBody>
      </p:sp>
      <p:sp>
        <p:nvSpPr>
          <p:cNvPr id="3" name="Espace réservé du contenu 2"/>
          <p:cNvSpPr>
            <a:spLocks noGrp="1"/>
          </p:cNvSpPr>
          <p:nvPr>
            <p:ph idx="1" hasCustomPrompt="1"/>
          </p:nvPr>
        </p:nvSpPr>
        <p:spPr bwMode="gray">
          <a:xfrm>
            <a:off x="478367" y="1508787"/>
            <a:ext cx="5521623" cy="4512501"/>
          </a:xfrm>
        </p:spPr>
        <p:txBody>
          <a:bodyPr/>
          <a:lstStyle>
            <a:lvl1pPr algn="l">
              <a:defRPr sz="2133">
                <a:latin typeface="+mj-lt"/>
              </a:defRPr>
            </a:lvl1pPr>
            <a:lvl2pPr algn="l">
              <a:defRPr sz="1867">
                <a:latin typeface="+mj-lt"/>
              </a:defRPr>
            </a:lvl2pPr>
            <a:lvl3pPr>
              <a:defRPr sz="1600">
                <a:latin typeface="+mj-lt"/>
              </a:defRPr>
            </a:lvl3pPr>
            <a:lvl4pPr>
              <a:defRPr sz="1467">
                <a:latin typeface="+mj-lt"/>
              </a:defRPr>
            </a:lvl4pPr>
            <a:lvl5pPr>
              <a:defRPr sz="1333">
                <a:latin typeface="+mj-lt"/>
              </a:defRPr>
            </a:lvl5pPr>
          </a:lstStyle>
          <a:p>
            <a:pPr lvl="0"/>
            <a:r>
              <a:rPr lang="en-GB" noProof="0" dirty="0"/>
              <a:t>Text level </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4" name="Espace réservé du contenu 2"/>
          <p:cNvSpPr>
            <a:spLocks noGrp="1"/>
          </p:cNvSpPr>
          <p:nvPr>
            <p:ph idx="10" hasCustomPrompt="1"/>
          </p:nvPr>
        </p:nvSpPr>
        <p:spPr bwMode="gray">
          <a:xfrm>
            <a:off x="6192011" y="1508787"/>
            <a:ext cx="5520000" cy="4512501"/>
          </a:xfrm>
        </p:spPr>
        <p:txBody>
          <a:bodyPr/>
          <a:lstStyle>
            <a:lvl1pPr algn="l">
              <a:defRPr sz="2133">
                <a:latin typeface="+mj-lt"/>
              </a:defRPr>
            </a:lvl1pPr>
            <a:lvl2pPr algn="l">
              <a:defRPr sz="1867">
                <a:latin typeface="+mj-lt"/>
              </a:defRPr>
            </a:lvl2pPr>
            <a:lvl3pPr>
              <a:defRPr sz="1600">
                <a:latin typeface="+mj-lt"/>
              </a:defRPr>
            </a:lvl3pPr>
            <a:lvl4pPr>
              <a:defRPr sz="1467">
                <a:latin typeface="+mj-lt"/>
              </a:defRPr>
            </a:lvl4pPr>
            <a:lvl5pPr>
              <a:defRPr sz="1333">
                <a:latin typeface="+mj-lt"/>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7" name="Rectangle 6"/>
          <p:cNvSpPr/>
          <p:nvPr userDrawn="1"/>
        </p:nvSpPr>
        <p:spPr>
          <a:xfrm>
            <a:off x="0" y="0"/>
            <a:ext cx="14333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sz="2400">
              <a:solidFill>
                <a:srgbClr val="FFFFFF"/>
              </a:solidFill>
            </a:endParaRPr>
          </a:p>
        </p:txBody>
      </p:sp>
      <p:sp>
        <p:nvSpPr>
          <p:cNvPr id="8" name="Footer Placeholder 4"/>
          <p:cNvSpPr>
            <a:spLocks noGrp="1"/>
          </p:cNvSpPr>
          <p:nvPr>
            <p:ph type="ftr" sz="quarter" idx="3"/>
          </p:nvPr>
        </p:nvSpPr>
        <p:spPr>
          <a:xfrm>
            <a:off x="670389" y="6281407"/>
            <a:ext cx="6961783" cy="366183"/>
          </a:xfrm>
          <a:prstGeom prst="rect">
            <a:avLst/>
          </a:prstGeom>
        </p:spPr>
        <p:txBody>
          <a:bodyPr vert="horz" lIns="91440" tIns="45720" rIns="91440" bIns="45720" rtlCol="0" anchor="ctr"/>
          <a:lstStyle>
            <a:lvl1pPr algn="l">
              <a:defRPr sz="1333">
                <a:solidFill>
                  <a:schemeClr val="tx1"/>
                </a:solidFill>
              </a:defRPr>
            </a:lvl1pPr>
          </a:lstStyle>
          <a:p>
            <a:endParaRPr lang="en-GB" dirty="0">
              <a:solidFill>
                <a:prstClr val="black"/>
              </a:solidFill>
            </a:endParaRPr>
          </a:p>
        </p:txBody>
      </p:sp>
      <p:sp>
        <p:nvSpPr>
          <p:cNvPr id="9" name="Slide Number Placeholder 5"/>
          <p:cNvSpPr>
            <a:spLocks noGrp="1"/>
          </p:cNvSpPr>
          <p:nvPr>
            <p:ph type="sldNum" sz="quarter" idx="4"/>
          </p:nvPr>
        </p:nvSpPr>
        <p:spPr>
          <a:xfrm>
            <a:off x="145026" y="6281407"/>
            <a:ext cx="478367" cy="366183"/>
          </a:xfrm>
          <a:prstGeom prst="rect">
            <a:avLst/>
          </a:prstGeom>
        </p:spPr>
        <p:txBody>
          <a:bodyPr vert="horz" lIns="91440" tIns="45720" rIns="91440" bIns="45720" rtlCol="0" anchor="ctr"/>
          <a:lstStyle>
            <a:lvl1pPr algn="l">
              <a:defRPr sz="1333">
                <a:solidFill>
                  <a:schemeClr val="tx1"/>
                </a:solidFill>
              </a:defRPr>
            </a:lvl1pPr>
          </a:lstStyle>
          <a:p>
            <a:fld id="{2A6703C0-39CF-4C10-93FF-E7B2477AF5D1}" type="slidenum">
              <a:rPr lang="en-GB" smtClean="0">
                <a:solidFill>
                  <a:prstClr val="black"/>
                </a:solidFill>
              </a:rPr>
              <a:pPr/>
              <a:t>‹N°›</a:t>
            </a:fld>
            <a:endParaRPr lang="en-GB">
              <a:solidFill>
                <a:prstClr val="black"/>
              </a:solidFill>
            </a:endParaRPr>
          </a:p>
        </p:txBody>
      </p:sp>
    </p:spTree>
    <p:extLst>
      <p:ext uri="{BB962C8B-B14F-4D97-AF65-F5344CB8AC3E}">
        <p14:creationId xmlns:p14="http://schemas.microsoft.com/office/powerpoint/2010/main" val="45428051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a:xfrm>
            <a:off x="-4911" y="5587767"/>
            <a:ext cx="478368" cy="452968"/>
          </a:xfrm>
          <a:prstGeom prst="rect">
            <a:avLst/>
          </a:prstGeom>
        </p:spPr>
        <p:txBody>
          <a:bodyPr/>
          <a:lstStyle/>
          <a:p>
            <a:r>
              <a:rPr lang="fr-FR">
                <a:solidFill>
                  <a:prstClr val="black"/>
                </a:solidFill>
              </a:rPr>
              <a:t>Date</a:t>
            </a:r>
            <a:endParaRPr lang="en-US" dirty="0">
              <a:solidFill>
                <a:prstClr val="black"/>
              </a:solidFill>
            </a:endParaRPr>
          </a:p>
        </p:txBody>
      </p:sp>
      <p:sp>
        <p:nvSpPr>
          <p:cNvPr id="12" name="Espace réservé du numéro de diapositive 11"/>
          <p:cNvSpPr>
            <a:spLocks noGrp="1"/>
          </p:cNvSpPr>
          <p:nvPr>
            <p:ph type="sldNum" sz="quarter" idx="11"/>
          </p:nvPr>
        </p:nvSpPr>
        <p:spPr bwMode="gray">
          <a:xfrm>
            <a:off x="-677" y="5252027"/>
            <a:ext cx="576080" cy="335740"/>
          </a:xfrm>
          <a:prstGeom prst="rect">
            <a:avLst/>
          </a:prstGeom>
        </p:spPr>
        <p:txBody>
          <a:bodyPr/>
          <a:lstStyle/>
          <a:p>
            <a:fld id="{733122C9-A0B9-462F-8757-0847AD287B63}" type="slidenum">
              <a:rPr lang="en-US">
                <a:solidFill>
                  <a:prstClr val="black"/>
                </a:solidFill>
              </a:rPr>
              <a:pPr/>
              <a:t>‹N°›</a:t>
            </a:fld>
            <a:endParaRPr lang="en-US" dirty="0">
              <a:solidFill>
                <a:prstClr val="black"/>
              </a:solidFill>
            </a:endParaRPr>
          </a:p>
        </p:txBody>
      </p:sp>
      <p:sp>
        <p:nvSpPr>
          <p:cNvPr id="13" name="Espace réservé du pied de page 12"/>
          <p:cNvSpPr>
            <a:spLocks noGrp="1"/>
          </p:cNvSpPr>
          <p:nvPr>
            <p:ph type="ftr" sz="quarter" idx="12"/>
          </p:nvPr>
        </p:nvSpPr>
        <p:spPr bwMode="gray">
          <a:xfrm>
            <a:off x="680561" y="5252027"/>
            <a:ext cx="9120000" cy="335740"/>
          </a:xfrm>
          <a:prstGeom prst="rect">
            <a:avLst/>
          </a:prstGeom>
        </p:spPr>
        <p:txBody>
          <a:bodyPr/>
          <a:lstStyle/>
          <a:p>
            <a:r>
              <a:rPr lang="en-US">
                <a:solidFill>
                  <a:prstClr val="black"/>
                </a:solidFill>
              </a:rPr>
              <a:t>Presentation title</a:t>
            </a:r>
            <a:endParaRPr lang="en-US" dirty="0">
              <a:solidFill>
                <a:prstClr val="black"/>
              </a:solidFill>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88"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67" y="2420889"/>
            <a:ext cx="2880000" cy="673100"/>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88"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67" y="3299307"/>
            <a:ext cx="2880000" cy="673100"/>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88"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67" y="4177727"/>
            <a:ext cx="2880000" cy="673100"/>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4530773"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5175052" y="2420889"/>
            <a:ext cx="2880000" cy="673100"/>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4530773"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5175052" y="3299307"/>
            <a:ext cx="2880000" cy="673100"/>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4530773"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5175052" y="4177727"/>
            <a:ext cx="2880000" cy="673100"/>
          </a:xfrm>
        </p:spPr>
        <p:txBody>
          <a:bodyPr/>
          <a:lstStyle>
            <a:lvl1pPr algn="l">
              <a:defRPr>
                <a:solidFill>
                  <a:schemeClr val="accent4"/>
                </a:solidFill>
              </a:defRPr>
            </a:lvl1pPr>
          </a:lstStyle>
          <a:p>
            <a:pPr lvl="0"/>
            <a:r>
              <a:rPr lang="en-US" noProof="0" dirty="0"/>
              <a:t>Text</a:t>
            </a:r>
          </a:p>
        </p:txBody>
      </p:sp>
      <p:sp>
        <p:nvSpPr>
          <p:cNvPr id="22" name="Espace réservé du texte 4"/>
          <p:cNvSpPr>
            <a:spLocks noGrp="1"/>
          </p:cNvSpPr>
          <p:nvPr>
            <p:ph type="body" sz="quarter" idx="25" hasCustomPrompt="1"/>
          </p:nvPr>
        </p:nvSpPr>
        <p:spPr bwMode="gray">
          <a:xfrm>
            <a:off x="8180735"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3" name="Espace réservé du texte 7"/>
          <p:cNvSpPr>
            <a:spLocks noGrp="1"/>
          </p:cNvSpPr>
          <p:nvPr>
            <p:ph type="body" sz="quarter" idx="26" hasCustomPrompt="1"/>
          </p:nvPr>
        </p:nvSpPr>
        <p:spPr bwMode="gray">
          <a:xfrm>
            <a:off x="8825013" y="2420889"/>
            <a:ext cx="2880000" cy="673100"/>
          </a:xfrm>
        </p:spPr>
        <p:txBody>
          <a:bodyPr/>
          <a:lstStyle>
            <a:lvl1pPr algn="l">
              <a:defRPr>
                <a:solidFill>
                  <a:schemeClr val="accent4"/>
                </a:solidFill>
              </a:defRPr>
            </a:lvl1pPr>
          </a:lstStyle>
          <a:p>
            <a:pPr lvl="0"/>
            <a:r>
              <a:rPr lang="en-US" noProof="0" dirty="0"/>
              <a:t>Text</a:t>
            </a:r>
          </a:p>
        </p:txBody>
      </p:sp>
      <p:sp>
        <p:nvSpPr>
          <p:cNvPr id="24" name="Espace réservé du texte 4"/>
          <p:cNvSpPr>
            <a:spLocks noGrp="1"/>
          </p:cNvSpPr>
          <p:nvPr>
            <p:ph type="body" sz="quarter" idx="27" hasCustomPrompt="1"/>
          </p:nvPr>
        </p:nvSpPr>
        <p:spPr bwMode="gray">
          <a:xfrm>
            <a:off x="8180735"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5" name="Espace réservé du texte 7"/>
          <p:cNvSpPr>
            <a:spLocks noGrp="1"/>
          </p:cNvSpPr>
          <p:nvPr>
            <p:ph type="body" sz="quarter" idx="28" hasCustomPrompt="1"/>
          </p:nvPr>
        </p:nvSpPr>
        <p:spPr bwMode="gray">
          <a:xfrm>
            <a:off x="8825013" y="3299307"/>
            <a:ext cx="2880000" cy="673100"/>
          </a:xfrm>
        </p:spPr>
        <p:txBody>
          <a:bodyPr/>
          <a:lstStyle>
            <a:lvl1pPr algn="l">
              <a:defRPr>
                <a:solidFill>
                  <a:schemeClr val="accent4"/>
                </a:solidFill>
              </a:defRPr>
            </a:lvl1pPr>
          </a:lstStyle>
          <a:p>
            <a:pPr lvl="0"/>
            <a:r>
              <a:rPr lang="en-US" noProof="0" dirty="0"/>
              <a:t>Text</a:t>
            </a:r>
          </a:p>
        </p:txBody>
      </p:sp>
      <p:sp>
        <p:nvSpPr>
          <p:cNvPr id="26" name="Espace réservé du texte 4"/>
          <p:cNvSpPr>
            <a:spLocks noGrp="1"/>
          </p:cNvSpPr>
          <p:nvPr>
            <p:ph type="body" sz="quarter" idx="29" hasCustomPrompt="1"/>
          </p:nvPr>
        </p:nvSpPr>
        <p:spPr bwMode="gray">
          <a:xfrm>
            <a:off x="8180735"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7" name="Espace réservé du texte 7"/>
          <p:cNvSpPr>
            <a:spLocks noGrp="1"/>
          </p:cNvSpPr>
          <p:nvPr>
            <p:ph type="body" sz="quarter" idx="30" hasCustomPrompt="1"/>
          </p:nvPr>
        </p:nvSpPr>
        <p:spPr bwMode="gray">
          <a:xfrm>
            <a:off x="8825013" y="4177727"/>
            <a:ext cx="2880000" cy="673100"/>
          </a:xfrm>
        </p:spPr>
        <p:txBody>
          <a:bodyPr/>
          <a:lstStyle>
            <a:lvl1pPr algn="l">
              <a:defRPr>
                <a:solidFill>
                  <a:schemeClr val="accent4"/>
                </a:solidFill>
              </a:defRPr>
            </a:lvl1pPr>
          </a:lstStyle>
          <a:p>
            <a:pPr lvl="0"/>
            <a:r>
              <a:rPr lang="en-US" noProof="0" dirty="0"/>
              <a:t>Text</a:t>
            </a:r>
          </a:p>
        </p:txBody>
      </p:sp>
    </p:spTree>
    <p:extLst>
      <p:ext uri="{BB962C8B-B14F-4D97-AF65-F5344CB8AC3E}">
        <p14:creationId xmlns:p14="http://schemas.microsoft.com/office/powerpoint/2010/main" val="65274783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1_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78369" y="584884"/>
            <a:ext cx="11235267" cy="480000"/>
          </a:xfrm>
        </p:spPr>
        <p:txBody>
          <a:bodyPr/>
          <a:lstStyle>
            <a:lvl1pPr algn="l">
              <a:defRPr sz="2400" spc="-200">
                <a:solidFill>
                  <a:schemeClr val="accent4"/>
                </a:solidFill>
                <a:latin typeface="Arial Black" panose="020B0A04020102020204" pitchFamily="34" charset="0"/>
              </a:defRPr>
            </a:lvl1pPr>
          </a:lstStyle>
          <a:p>
            <a:r>
              <a:rPr lang="en-US" noProof="0" dirty="0"/>
              <a:t>TITLE</a:t>
            </a:r>
          </a:p>
        </p:txBody>
      </p:sp>
      <p:sp>
        <p:nvSpPr>
          <p:cNvPr id="8" name="Espace réservé du pied de page 7"/>
          <p:cNvSpPr>
            <a:spLocks noGrp="1"/>
          </p:cNvSpPr>
          <p:nvPr>
            <p:ph type="ftr" sz="quarter" idx="11"/>
          </p:nvPr>
        </p:nvSpPr>
        <p:spPr bwMode="gray"/>
        <p:txBody>
          <a:bodyPr/>
          <a:lstStyle>
            <a:lvl1pPr>
              <a:defRPr>
                <a:solidFill>
                  <a:schemeClr val="accent4"/>
                </a:solidFill>
              </a:defRPr>
            </a:lvl1pPr>
          </a:lstStyle>
          <a:p>
            <a:r>
              <a:rPr lang="en-US">
                <a:solidFill>
                  <a:srgbClr val="464B69"/>
                </a:solidFill>
              </a:rPr>
              <a:t>Presentation title</a:t>
            </a:r>
            <a:endParaRPr lang="en-US" dirty="0">
              <a:solidFill>
                <a:srgbClr val="464B69"/>
              </a:solidFill>
            </a:endParaRPr>
          </a:p>
        </p:txBody>
      </p:sp>
      <p:sp>
        <p:nvSpPr>
          <p:cNvPr id="9" name="Espace réservé du numéro de diapositive 8"/>
          <p:cNvSpPr>
            <a:spLocks noGrp="1"/>
          </p:cNvSpPr>
          <p:nvPr>
            <p:ph type="sldNum" sz="quarter" idx="12"/>
          </p:nvPr>
        </p:nvSpPr>
        <p:spPr bwMode="gray">
          <a:xfrm>
            <a:off x="143339" y="6069295"/>
            <a:ext cx="432064" cy="336037"/>
          </a:xfrm>
        </p:spPr>
        <p:txBody>
          <a:bodyPr/>
          <a:lstStyle/>
          <a:p>
            <a:fld id="{733122C9-A0B9-462F-8757-0847AD287B63}" type="slidenum">
              <a:rPr lang="en-US" smtClean="0">
                <a:solidFill>
                  <a:srgbClr val="464B69"/>
                </a:solidFill>
              </a:rPr>
              <a:pPr/>
              <a:t>‹N°›</a:t>
            </a:fld>
            <a:endParaRPr lang="en-US" dirty="0">
              <a:solidFill>
                <a:srgbClr val="464B69"/>
              </a:solidFill>
            </a:endParaRPr>
          </a:p>
        </p:txBody>
      </p:sp>
      <p:sp>
        <p:nvSpPr>
          <p:cNvPr id="4" name="Rectangle 3"/>
          <p:cNvSpPr/>
          <p:nvPr/>
        </p:nvSpPr>
        <p:spPr>
          <a:xfrm>
            <a:off x="1" y="0"/>
            <a:ext cx="14333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FFFFFF"/>
              </a:solidFill>
            </a:endParaRPr>
          </a:p>
        </p:txBody>
      </p:sp>
    </p:spTree>
    <p:extLst>
      <p:ext uri="{BB962C8B-B14F-4D97-AF65-F5344CB8AC3E}">
        <p14:creationId xmlns:p14="http://schemas.microsoft.com/office/powerpoint/2010/main" val="2466404525"/>
      </p:ext>
    </p:extLst>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4_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78368" y="584884"/>
            <a:ext cx="11235267" cy="480000"/>
          </a:xfrm>
        </p:spPr>
        <p:txBody>
          <a:bodyPr/>
          <a:lstStyle>
            <a:lvl1pPr algn="l">
              <a:defRPr sz="2400" spc="-200">
                <a:solidFill>
                  <a:schemeClr val="accent4"/>
                </a:solidFill>
                <a:latin typeface="Arial Black" panose="020B0A04020102020204" pitchFamily="34" charset="0"/>
              </a:defRPr>
            </a:lvl1pPr>
          </a:lstStyle>
          <a:p>
            <a:r>
              <a:rPr lang="en-US" noProof="0" dirty="0"/>
              <a:t>TITLE</a:t>
            </a:r>
          </a:p>
        </p:txBody>
      </p:sp>
      <p:sp>
        <p:nvSpPr>
          <p:cNvPr id="8" name="Espace réservé du pied de page 7"/>
          <p:cNvSpPr>
            <a:spLocks noGrp="1"/>
          </p:cNvSpPr>
          <p:nvPr>
            <p:ph type="ftr" sz="quarter" idx="11"/>
          </p:nvPr>
        </p:nvSpPr>
        <p:spPr bwMode="gray"/>
        <p:txBody>
          <a:bodyPr/>
          <a:lstStyle>
            <a:lvl1pPr>
              <a:defRPr>
                <a:solidFill>
                  <a:schemeClr val="accent4"/>
                </a:solidFill>
              </a:defRPr>
            </a:lvl1pPr>
          </a:lstStyle>
          <a:p>
            <a:r>
              <a:rPr lang="en-US">
                <a:solidFill>
                  <a:srgbClr val="464B69"/>
                </a:solidFill>
              </a:rPr>
              <a:t>Presentation title</a:t>
            </a:r>
            <a:endParaRPr lang="en-US" dirty="0">
              <a:solidFill>
                <a:srgbClr val="464B69"/>
              </a:solidFill>
            </a:endParaRPr>
          </a:p>
        </p:txBody>
      </p:sp>
      <p:sp>
        <p:nvSpPr>
          <p:cNvPr id="9" name="Espace réservé du numéro de diapositive 8"/>
          <p:cNvSpPr>
            <a:spLocks noGrp="1"/>
          </p:cNvSpPr>
          <p:nvPr>
            <p:ph type="sldNum" sz="quarter" idx="12"/>
          </p:nvPr>
        </p:nvSpPr>
        <p:spPr bwMode="gray">
          <a:xfrm>
            <a:off x="143339" y="6069294"/>
            <a:ext cx="432064" cy="336037"/>
          </a:xfrm>
        </p:spPr>
        <p:txBody>
          <a:bodyPr/>
          <a:lstStyle/>
          <a:p>
            <a:fld id="{733122C9-A0B9-462F-8757-0847AD287B63}" type="slidenum">
              <a:rPr lang="en-US" smtClean="0">
                <a:solidFill>
                  <a:srgbClr val="464B69"/>
                </a:solidFill>
              </a:rPr>
              <a:pPr/>
              <a:t>‹N°›</a:t>
            </a:fld>
            <a:endParaRPr lang="en-US" dirty="0">
              <a:solidFill>
                <a:srgbClr val="464B69"/>
              </a:solidFill>
            </a:endParaRPr>
          </a:p>
        </p:txBody>
      </p:sp>
      <p:sp>
        <p:nvSpPr>
          <p:cNvPr id="4" name="Rectangle 3"/>
          <p:cNvSpPr/>
          <p:nvPr/>
        </p:nvSpPr>
        <p:spPr>
          <a:xfrm>
            <a:off x="0" y="0"/>
            <a:ext cx="14333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FFFFFF"/>
              </a:solidFill>
            </a:endParaRPr>
          </a:p>
        </p:txBody>
      </p:sp>
    </p:spTree>
    <p:extLst>
      <p:ext uri="{BB962C8B-B14F-4D97-AF65-F5344CB8AC3E}">
        <p14:creationId xmlns:p14="http://schemas.microsoft.com/office/powerpoint/2010/main" val="1791795797"/>
      </p:ext>
    </p:extLst>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p:nvGrpSpPr>
        <p:grpSpPr>
          <a:xfrm>
            <a:off x="0" y="-55534"/>
            <a:ext cx="13296800" cy="5428750"/>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47668"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343418"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pic>
        <p:nvPicPr>
          <p:cNvPr id="22" name="Image 21">
            <a:extLst>
              <a:ext uri="{FF2B5EF4-FFF2-40B4-BE49-F238E27FC236}">
                <a16:creationId xmlns:a16="http://schemas.microsoft.com/office/drawing/2014/main" id="{FB462EBA-7EE8-40CC-BC93-E402200D83C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845" t="25237" r="7003" b="27219"/>
          <a:stretch/>
        </p:blipFill>
        <p:spPr>
          <a:xfrm>
            <a:off x="552064" y="5157192"/>
            <a:ext cx="6120000" cy="831860"/>
          </a:xfrm>
          <a:prstGeom prst="rect">
            <a:avLst/>
          </a:prstGeom>
        </p:spPr>
      </p:pic>
    </p:spTree>
    <p:extLst>
      <p:ext uri="{BB962C8B-B14F-4D97-AF65-F5344CB8AC3E}">
        <p14:creationId xmlns:p14="http://schemas.microsoft.com/office/powerpoint/2010/main" val="1593585535"/>
      </p:ext>
    </p:extLst>
  </p:cSld>
  <p:clrMapOvr>
    <a:masterClrMapping/>
  </p:clrMapOvr>
  <p:hf hdr="0"/>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6" name="Object 1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pic>
        <p:nvPicPr>
          <p:cNvPr id="13" name="Image 12">
            <a:extLst>
              <a:ext uri="{FF2B5EF4-FFF2-40B4-BE49-F238E27FC236}">
                <a16:creationId xmlns:a16="http://schemas.microsoft.com/office/drawing/2014/main" id="{8A7F2DC0-BF36-48D5-AAB0-DE89725323C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845" t="25237" r="7003" b="27219"/>
          <a:stretch/>
        </p:blipFill>
        <p:spPr>
          <a:xfrm>
            <a:off x="551384" y="724932"/>
            <a:ext cx="6120000" cy="831860"/>
          </a:xfrm>
          <a:prstGeom prst="rect">
            <a:avLst/>
          </a:prstGeom>
        </p:spPr>
      </p:pic>
    </p:spTree>
    <p:extLst>
      <p:ext uri="{BB962C8B-B14F-4D97-AF65-F5344CB8AC3E}">
        <p14:creationId xmlns:p14="http://schemas.microsoft.com/office/powerpoint/2010/main" val="4030498001"/>
      </p:ext>
    </p:extLst>
  </p:cSld>
  <p:clrMapOvr>
    <a:masterClrMapping/>
  </p:clrMapOvr>
  <p:hf hdr="0"/>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5">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Freeform 9">
            <a:extLst>
              <a:ext uri="{FF2B5EF4-FFF2-40B4-BE49-F238E27FC236}">
                <a16:creationId xmlns:a16="http://schemas.microsoft.com/office/drawing/2014/main" id="{49E27DC5-0E94-4161-ADB3-F3B33A33AFED}"/>
              </a:ext>
            </a:extLst>
          </p:cNvPr>
          <p:cNvSpPr>
            <a:spLocks/>
          </p:cNvSpPr>
          <p:nvPr/>
        </p:nvSpPr>
        <p:spPr bwMode="auto">
          <a:xfrm rot="5400000" flipH="1">
            <a:off x="-760396" y="-2458091"/>
            <a:ext cx="9115703" cy="9516479"/>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pic>
        <p:nvPicPr>
          <p:cNvPr id="20" name="Image 19">
            <a:extLst>
              <a:ext uri="{FF2B5EF4-FFF2-40B4-BE49-F238E27FC236}">
                <a16:creationId xmlns:a16="http://schemas.microsoft.com/office/drawing/2014/main" id="{557F3EC6-6AB7-49CB-8BF2-B714521A094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845" t="25237" r="7003" b="27219"/>
          <a:stretch/>
        </p:blipFill>
        <p:spPr>
          <a:xfrm>
            <a:off x="5519936" y="724932"/>
            <a:ext cx="6120000" cy="831860"/>
          </a:xfrm>
          <a:prstGeom prst="rect">
            <a:avLst/>
          </a:prstGeom>
        </p:spPr>
      </p:pic>
      <p:sp>
        <p:nvSpPr>
          <p:cNvPr id="11" name="Title 1"/>
          <p:cNvSpPr>
            <a:spLocks noGrp="1"/>
          </p:cNvSpPr>
          <p:nvPr>
            <p:ph type="ctrTitle" hasCustomPrompt="1"/>
          </p:nvPr>
        </p:nvSpPr>
        <p:spPr>
          <a:xfrm>
            <a:off x="5591944" y="253648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tx2"/>
                </a:solidFill>
              </a:defRPr>
            </a:lvl1pPr>
          </a:lstStyle>
          <a:p>
            <a:pPr marL="0" lvl="0"/>
            <a:r>
              <a:rPr lang="en-US" dirty="0"/>
              <a:t>Click to insert title</a:t>
            </a:r>
          </a:p>
        </p:txBody>
      </p:sp>
      <p:sp>
        <p:nvSpPr>
          <p:cNvPr id="12" name="Subtitle 2"/>
          <p:cNvSpPr>
            <a:spLocks noGrp="1"/>
          </p:cNvSpPr>
          <p:nvPr>
            <p:ph type="subTitle" idx="1" hasCustomPrompt="1"/>
          </p:nvPr>
        </p:nvSpPr>
        <p:spPr>
          <a:xfrm>
            <a:off x="5591944" y="4365277"/>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tx2"/>
                </a:solidFill>
              </a:defRPr>
            </a:lvl1pPr>
          </a:lstStyle>
          <a:p>
            <a:pPr marL="0" lvl="0"/>
            <a:r>
              <a:rPr lang="en-US" dirty="0"/>
              <a:t>Click to insert presenter, location, and date</a:t>
            </a:r>
          </a:p>
        </p:txBody>
      </p:sp>
    </p:spTree>
    <p:extLst>
      <p:ext uri="{BB962C8B-B14F-4D97-AF65-F5344CB8AC3E}">
        <p14:creationId xmlns:p14="http://schemas.microsoft.com/office/powerpoint/2010/main" val="1624036500"/>
      </p:ext>
    </p:extLst>
  </p:cSld>
  <p:clrMapOvr>
    <a:masterClrMapping/>
  </p:clrMapOvr>
  <p:hf hdr="0"/>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itle Slide 7">
    <p:spTree>
      <p:nvGrpSpPr>
        <p:cNvPr id="1" name=""/>
        <p:cNvGrpSpPr/>
        <p:nvPr/>
      </p:nvGrpSpPr>
      <p:grpSpPr>
        <a:xfrm>
          <a:off x="0" y="0"/>
          <a:ext cx="0" cy="0"/>
          <a:chOff x="0" y="0"/>
          <a:chExt cx="0" cy="0"/>
        </a:xfrm>
      </p:grpSpPr>
      <p:grpSp>
        <p:nvGrpSpPr>
          <p:cNvPr id="14" name="Groupe 13">
            <a:extLst>
              <a:ext uri="{FF2B5EF4-FFF2-40B4-BE49-F238E27FC236}">
                <a16:creationId xmlns:a16="http://schemas.microsoft.com/office/drawing/2014/main" id="{64592B57-BCDC-46B2-904B-5A7FDEA22156}"/>
              </a:ext>
            </a:extLst>
          </p:cNvPr>
          <p:cNvGrpSpPr/>
          <p:nvPr/>
        </p:nvGrpSpPr>
        <p:grpSpPr>
          <a:xfrm rot="10800000">
            <a:off x="0" y="-583910"/>
            <a:ext cx="8184232" cy="7441910"/>
            <a:chOff x="3847179" y="1294078"/>
            <a:chExt cx="4118037" cy="3744526"/>
          </a:xfrm>
        </p:grpSpPr>
        <p:sp>
          <p:nvSpPr>
            <p:cNvPr id="25" name="Forme libre : forme 24">
              <a:extLst>
                <a:ext uri="{FF2B5EF4-FFF2-40B4-BE49-F238E27FC236}">
                  <a16:creationId xmlns:a16="http://schemas.microsoft.com/office/drawing/2014/main" id="{F6855C7D-FB6F-4A0D-99F6-3523A5DB1407}"/>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a:p>
          </p:txBody>
        </p:sp>
        <p:sp>
          <p:nvSpPr>
            <p:cNvPr id="26" name="Forme libre : forme 25">
              <a:extLst>
                <a:ext uri="{FF2B5EF4-FFF2-40B4-BE49-F238E27FC236}">
                  <a16:creationId xmlns:a16="http://schemas.microsoft.com/office/drawing/2014/main" id="{81910F3B-3232-4E33-8A3C-C9ECA9724E1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712035" y="3502732"/>
            <a:ext cx="3558066" cy="2058654"/>
          </a:xfrm>
          <a:prstGeom prst="rect">
            <a:avLst/>
          </a:prstGeom>
        </p:spPr>
        <p:txBody>
          <a:bodyPr anchor="ctr">
            <a:normAutofit/>
          </a:bodyPr>
          <a:lstStyle>
            <a:lvl1pPr marL="0" indent="0">
              <a:buNone/>
              <a:defRPr sz="32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3637310" y="5571206"/>
            <a:ext cx="3558066"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nd date</a:t>
            </a:r>
          </a:p>
        </p:txBody>
      </p:sp>
      <p:pic>
        <p:nvPicPr>
          <p:cNvPr id="18" name="Image 17">
            <a:extLst>
              <a:ext uri="{FF2B5EF4-FFF2-40B4-BE49-F238E27FC236}">
                <a16:creationId xmlns:a16="http://schemas.microsoft.com/office/drawing/2014/main" id="{9B094B5A-7617-4918-B4B1-E58924F906A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845" t="25237" r="7003" b="27219"/>
          <a:stretch/>
        </p:blipFill>
        <p:spPr>
          <a:xfrm>
            <a:off x="5519936" y="724932"/>
            <a:ext cx="6120000" cy="831860"/>
          </a:xfrm>
          <a:prstGeom prst="rect">
            <a:avLst/>
          </a:prstGeom>
        </p:spPr>
      </p:pic>
    </p:spTree>
    <p:extLst>
      <p:ext uri="{BB962C8B-B14F-4D97-AF65-F5344CB8AC3E}">
        <p14:creationId xmlns:p14="http://schemas.microsoft.com/office/powerpoint/2010/main" val="622295310"/>
      </p:ext>
    </p:extLst>
  </p:cSld>
  <p:clrMapOvr>
    <a:masterClrMapping/>
  </p:clrMapOvr>
  <p:hf hdr="0"/>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73BAD68B-995D-4DA0-8CDE-E416E88076A7}"/>
              </a:ext>
            </a:extLst>
          </p:cNvPr>
          <p:cNvSpPr>
            <a:spLocks noGrp="1"/>
          </p:cNvSpPr>
          <p:nvPr>
            <p:ph type="dt" sz="half" idx="10"/>
          </p:nvPr>
        </p:nvSpPr>
        <p:spPr/>
        <p:txBody>
          <a:bodyPr/>
          <a:lstStyle/>
          <a:p>
            <a:fld id="{EB586B78-DFF9-4605-9E2B-704A7BEB340B}" type="datetimeFigureOut">
              <a:rPr lang="fr-FR" smtClean="0"/>
              <a:t>22/05/2024</a:t>
            </a:fld>
            <a:endParaRPr lang="fr-FR"/>
          </a:p>
        </p:txBody>
      </p:sp>
      <p:sp>
        <p:nvSpPr>
          <p:cNvPr id="3" name="Espace réservé du pied de page 2">
            <a:extLst>
              <a:ext uri="{FF2B5EF4-FFF2-40B4-BE49-F238E27FC236}">
                <a16:creationId xmlns:a16="http://schemas.microsoft.com/office/drawing/2014/main" id="{A0B79C95-CB1A-4854-A009-5B77B80423D5}"/>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F908D7C8-DA12-4A40-BE85-6F34A309455B}"/>
              </a:ext>
            </a:extLst>
          </p:cNvPr>
          <p:cNvSpPr>
            <a:spLocks noGrp="1"/>
          </p:cNvSpPr>
          <p:nvPr>
            <p:ph type="sldNum" sz="quarter" idx="12"/>
          </p:nvPr>
        </p:nvSpPr>
        <p:spPr/>
        <p:txBody>
          <a:bodyPr/>
          <a:lstStyle/>
          <a:p>
            <a:fld id="{D801D752-33C2-416C-BB7B-002D67037600}" type="slidenum">
              <a:rPr lang="fr-FR" smtClean="0"/>
              <a:t>‹N°›</a:t>
            </a:fld>
            <a:endParaRPr lang="fr-FR"/>
          </a:p>
        </p:txBody>
      </p:sp>
    </p:spTree>
    <p:extLst>
      <p:ext uri="{BB962C8B-B14F-4D97-AF65-F5344CB8AC3E}">
        <p14:creationId xmlns:p14="http://schemas.microsoft.com/office/powerpoint/2010/main" val="1455957784"/>
      </p:ext>
    </p:extLst>
  </p:cSld>
  <p:clrMapOvr>
    <a:masterClrMapping/>
  </p:clrMapOvr>
  <p:hf hdr="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Cover">
    <p:bg bwMode="gray">
      <p:bgPr>
        <a:solidFill>
          <a:schemeClr val="tx2"/>
        </a:solidFill>
        <a:effectLst/>
      </p:bgPr>
    </p:bg>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9" y="4169584"/>
            <a:ext cx="11235265" cy="768000"/>
          </a:xfrm>
        </p:spPr>
        <p:txBody>
          <a:bodyPr/>
          <a:lstStyle>
            <a:lvl1pPr marL="0" indent="0" algn="ctr">
              <a:buNone/>
              <a:defRPr sz="20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a:xfrm>
            <a:off x="-4911" y="5587767"/>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8" name="Espace réservé du texte 7"/>
          <p:cNvSpPr>
            <a:spLocks noGrp="1"/>
          </p:cNvSpPr>
          <p:nvPr>
            <p:ph type="body" sz="quarter" idx="13" hasCustomPrompt="1"/>
          </p:nvPr>
        </p:nvSpPr>
        <p:spPr>
          <a:xfrm>
            <a:off x="479999" y="537599"/>
            <a:ext cx="11236800" cy="3384000"/>
          </a:xfrm>
        </p:spPr>
        <p:txBody>
          <a:bodyPr anchor="b" anchorCtr="0"/>
          <a:lstStyle>
            <a:lvl1pPr marL="0" indent="0">
              <a:lnSpc>
                <a:spcPct val="95000"/>
              </a:lnSpc>
              <a:buFont typeface="Arial" panose="020B0604020202020204" pitchFamily="34" charset="0"/>
              <a:buNone/>
              <a:defRPr sz="4000">
                <a:solidFill>
                  <a:schemeClr val="bg1"/>
                </a:solidFill>
              </a:defRPr>
            </a:lvl1pPr>
            <a:lvl2pPr marL="0" indent="0">
              <a:lnSpc>
                <a:spcPct val="95000"/>
              </a:lnSpc>
              <a:buNone/>
              <a:defRPr sz="3333">
                <a:solidFill>
                  <a:schemeClr val="bg1"/>
                </a:solidFill>
              </a:defRPr>
            </a:lvl2pPr>
          </a:lstStyle>
          <a:p>
            <a:pPr lvl="0"/>
            <a:r>
              <a:rPr lang="en-US" noProof="0" dirty="0"/>
              <a:t>Title</a:t>
            </a:r>
          </a:p>
          <a:p>
            <a:pPr lvl="1"/>
            <a:r>
              <a:rPr lang="en-US" noProof="0" dirty="0"/>
              <a:t>Subtitle</a:t>
            </a:r>
          </a:p>
        </p:txBody>
      </p:sp>
      <p:pic>
        <p:nvPicPr>
          <p:cNvPr id="10" name="Image 9"/>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4820688" y="5847473"/>
            <a:ext cx="2668390" cy="386524"/>
          </a:xfrm>
          <a:prstGeom prst="rect">
            <a:avLst/>
          </a:prstGeom>
        </p:spPr>
      </p:pic>
    </p:spTree>
    <p:extLst>
      <p:ext uri="{BB962C8B-B14F-4D97-AF65-F5344CB8AC3E}">
        <p14:creationId xmlns:p14="http://schemas.microsoft.com/office/powerpoint/2010/main" val="15560796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FD0F4-4687-4E74-B3B8-E015DB40CA53}"/>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382029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Chapter P7670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12" name="Image 11"/>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9378601" y="6225125"/>
            <a:ext cx="2520000" cy="365028"/>
          </a:xfrm>
          <a:prstGeom prst="rect">
            <a:avLst/>
          </a:prstGeom>
        </p:spPr>
      </p:pic>
    </p:spTree>
    <p:extLst>
      <p:ext uri="{BB962C8B-B14F-4D97-AF65-F5344CB8AC3E}">
        <p14:creationId xmlns:p14="http://schemas.microsoft.com/office/powerpoint/2010/main" val="555800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 P2185C">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13" name="Image 12"/>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9378601" y="6225125"/>
            <a:ext cx="2520000" cy="365028"/>
          </a:xfrm>
          <a:prstGeom prst="rect">
            <a:avLst/>
          </a:prstGeom>
        </p:spPr>
      </p:pic>
    </p:spTree>
    <p:extLst>
      <p:ext uri="{BB962C8B-B14F-4D97-AF65-F5344CB8AC3E}">
        <p14:creationId xmlns:p14="http://schemas.microsoft.com/office/powerpoint/2010/main" val="10968703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Chapter P166C">
    <p:spTree>
      <p:nvGrpSpPr>
        <p:cNvPr id="1" name=""/>
        <p:cNvGrpSpPr/>
        <p:nvPr/>
      </p:nvGrpSpPr>
      <p:grpSpPr>
        <a:xfrm>
          <a:off x="0" y="0"/>
          <a:ext cx="0" cy="0"/>
          <a:chOff x="0" y="0"/>
          <a:chExt cx="0" cy="0"/>
        </a:xfrm>
      </p:grpSpPr>
      <p:sp>
        <p:nvSpPr>
          <p:cNvPr id="12" name="Rectangle 11"/>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11" name="Image 10"/>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9378601" y="6225125"/>
            <a:ext cx="2520000" cy="365028"/>
          </a:xfrm>
          <a:prstGeom prst="rect">
            <a:avLst/>
          </a:prstGeom>
        </p:spPr>
      </p:pic>
    </p:spTree>
    <p:extLst>
      <p:ext uri="{BB962C8B-B14F-4D97-AF65-F5344CB8AC3E}">
        <p14:creationId xmlns:p14="http://schemas.microsoft.com/office/powerpoint/2010/main" val="7055354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End">
    <p:bg bwMode="gray">
      <p:bgPr>
        <a:solidFill>
          <a:schemeClr val="tx2"/>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4911" y="5587767"/>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pic>
        <p:nvPicPr>
          <p:cNvPr id="8" name="Image 7"/>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4054126" y="2662756"/>
            <a:ext cx="3924000" cy="568413"/>
          </a:xfrm>
          <a:prstGeom prst="rect">
            <a:avLst/>
          </a:prstGeom>
        </p:spPr>
      </p:pic>
    </p:spTree>
    <p:extLst>
      <p:ext uri="{BB962C8B-B14F-4D97-AF65-F5344CB8AC3E}">
        <p14:creationId xmlns:p14="http://schemas.microsoft.com/office/powerpoint/2010/main" val="255130445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1A6A2-1C22-4DEB-92CB-928B5EE27B7A}"/>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4613EE0B-6616-4847-925D-C4FAF37B5EB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a:extLst>
              <a:ext uri="{FF2B5EF4-FFF2-40B4-BE49-F238E27FC236}">
                <a16:creationId xmlns:a16="http://schemas.microsoft.com/office/drawing/2014/main" id="{CA164476-DF91-4C49-952E-9528C558E5DC}"/>
              </a:ext>
            </a:extLst>
          </p:cNvPr>
          <p:cNvSpPr>
            <a:spLocks noGrp="1"/>
          </p:cNvSpPr>
          <p:nvPr>
            <p:ph type="dt" sz="half" idx="10"/>
          </p:nvPr>
        </p:nvSpPr>
        <p:spPr/>
        <p:txBody>
          <a:bodyPr/>
          <a:lstStyle/>
          <a:p>
            <a:fld id="{C36532C4-3DB8-4F0A-927D-E36D43D65F10}" type="datetimeFigureOut">
              <a:rPr lang="fr-FR" smtClean="0"/>
              <a:t>17/05/2024</a:t>
            </a:fld>
            <a:endParaRPr lang="fr-FR" dirty="0"/>
          </a:p>
        </p:txBody>
      </p:sp>
      <p:sp>
        <p:nvSpPr>
          <p:cNvPr id="5" name="Footer Placeholder 4">
            <a:extLst>
              <a:ext uri="{FF2B5EF4-FFF2-40B4-BE49-F238E27FC236}">
                <a16:creationId xmlns:a16="http://schemas.microsoft.com/office/drawing/2014/main" id="{3E2AE0D3-AAD1-4416-83B0-2FE80C0976DE}"/>
              </a:ext>
            </a:extLst>
          </p:cNvPr>
          <p:cNvSpPr>
            <a:spLocks noGrp="1"/>
          </p:cNvSpPr>
          <p:nvPr>
            <p:ph type="ftr" sz="quarter" idx="11"/>
          </p:nvPr>
        </p:nvSpPr>
        <p:spPr/>
        <p:txBody>
          <a:bodyPr/>
          <a:lstStyle/>
          <a:p>
            <a:endParaRPr lang="fr-FR" dirty="0"/>
          </a:p>
        </p:txBody>
      </p:sp>
      <p:sp>
        <p:nvSpPr>
          <p:cNvPr id="6" name="Slide Number Placeholder 5">
            <a:extLst>
              <a:ext uri="{FF2B5EF4-FFF2-40B4-BE49-F238E27FC236}">
                <a16:creationId xmlns:a16="http://schemas.microsoft.com/office/drawing/2014/main" id="{36A55DD4-FFC8-4009-8301-AE95974DD586}"/>
              </a:ext>
            </a:extLst>
          </p:cNvPr>
          <p:cNvSpPr>
            <a:spLocks noGrp="1"/>
          </p:cNvSpPr>
          <p:nvPr>
            <p:ph type="sldNum" sz="quarter" idx="12"/>
          </p:nvPr>
        </p:nvSpPr>
        <p:spPr/>
        <p:txBody>
          <a:bodyPr/>
          <a:lstStyle/>
          <a:p>
            <a:fld id="{341310D4-A2A9-4EA7-99E7-00D856E459EB}" type="slidenum">
              <a:rPr lang="fr-FR" smtClean="0"/>
              <a:t>‹N°›</a:t>
            </a:fld>
            <a:endParaRPr lang="fr-FR" dirty="0"/>
          </a:p>
        </p:txBody>
      </p:sp>
    </p:spTree>
    <p:extLst>
      <p:ext uri="{BB962C8B-B14F-4D97-AF65-F5344CB8AC3E}">
        <p14:creationId xmlns:p14="http://schemas.microsoft.com/office/powerpoint/2010/main" val="13661866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 P29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13" name="Image 12"/>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9378601" y="6225125"/>
            <a:ext cx="2520000" cy="365028"/>
          </a:xfrm>
          <a:prstGeom prst="rect">
            <a:avLst/>
          </a:prstGeom>
        </p:spPr>
      </p:pic>
    </p:spTree>
    <p:extLst>
      <p:ext uri="{BB962C8B-B14F-4D97-AF65-F5344CB8AC3E}">
        <p14:creationId xmlns:p14="http://schemas.microsoft.com/office/powerpoint/2010/main" val="27471306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P393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r>
              <a:rPr lang="en-US">
                <a:solidFill>
                  <a:srgbClr val="FFFFFF">
                    <a:alpha val="0"/>
                  </a:srgbClr>
                </a:solidFill>
              </a:rPr>
              <a:t>Presentation title</a:t>
            </a:r>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fld id="{10C140CD-8AED-46FF-A9A2-77308F3F39AE}" type="slidenum">
              <a:rPr lang="en-US" smtClean="0">
                <a:solidFill>
                  <a:srgbClr val="FFFFFF">
                    <a:alpha val="0"/>
                  </a:srgbClr>
                </a:solidFill>
              </a:rPr>
              <a:pPr/>
              <a:t>‹N°›</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12" name="Image 11"/>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9378601" y="6225125"/>
            <a:ext cx="2520000" cy="365028"/>
          </a:xfrm>
          <a:prstGeom prst="rect">
            <a:avLst/>
          </a:prstGeom>
        </p:spPr>
      </p:pic>
    </p:spTree>
    <p:extLst>
      <p:ext uri="{BB962C8B-B14F-4D97-AF65-F5344CB8AC3E}">
        <p14:creationId xmlns:p14="http://schemas.microsoft.com/office/powerpoint/2010/main" val="36219934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34" Type="http://schemas.openxmlformats.org/officeDocument/2006/relationships/oleObject" Target="../embeddings/oleObject2.bin"/><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tags" Target="../tags/tag2.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theme" Target="../theme/theme2.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tags" Target="../tags/tag3.xml"/><Relationship Id="rId18" Type="http://schemas.openxmlformats.org/officeDocument/2006/relationships/image" Target="../media/image1.emf"/><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heme" Target="../theme/theme3.xml"/><Relationship Id="rId17" Type="http://schemas.openxmlformats.org/officeDocument/2006/relationships/oleObject" Target="../embeddings/oleObject1.bin"/><Relationship Id="rId2" Type="http://schemas.openxmlformats.org/officeDocument/2006/relationships/slideLayout" Target="../slideLayouts/slideLayout63.xml"/><Relationship Id="rId16" Type="http://schemas.openxmlformats.org/officeDocument/2006/relationships/image" Target="../media/image10.emf"/><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oleObject" Target="../embeddings/oleObject3.bin"/><Relationship Id="rId10" Type="http://schemas.openxmlformats.org/officeDocument/2006/relationships/slideLayout" Target="../slideLayouts/slideLayout71.xml"/><Relationship Id="rId19" Type="http://schemas.openxmlformats.org/officeDocument/2006/relationships/image" Target="../media/image2.png"/><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480F899-3592-43A3-AE42-0DCCA3E1E207}"/>
              </a:ext>
            </a:extLst>
          </p:cNvPr>
          <p:cNvGraphicFramePr>
            <a:graphicFrameLocks noChangeAspect="1"/>
          </p:cNvGraphicFramePr>
          <p:nvPr userDrawn="1">
            <p:custDataLst>
              <p:tags r:id="rId3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3" imgW="470" imgH="469" progId="TCLayout.ActiveDocument.1">
                  <p:embed/>
                </p:oleObj>
              </mc:Choice>
              <mc:Fallback>
                <p:oleObj name="think-cell Slide" r:id="rId33" imgW="470" imgH="469" progId="TCLayout.ActiveDocument.1">
                  <p:embed/>
                  <p:pic>
                    <p:nvPicPr>
                      <p:cNvPr id="0" name=""/>
                      <p:cNvPicPr/>
                      <p:nvPr/>
                    </p:nvPicPr>
                    <p:blipFill>
                      <a:blip r:embed="rId34"/>
                      <a:stretch>
                        <a:fillRect/>
                      </a:stretch>
                    </p:blipFill>
                    <p:spPr>
                      <a:xfrm>
                        <a:off x="2118" y="2118"/>
                        <a:ext cx="2117" cy="2117"/>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478368" y="584884"/>
            <a:ext cx="11235267" cy="1188507"/>
          </a:xfrm>
          <a:prstGeom prst="rect">
            <a:avLst/>
          </a:prstGeom>
        </p:spPr>
        <p:txBody>
          <a:bodyPr vert="horz" lIns="0" tIns="0" rIns="0" bIns="0" rtlCol="0" anchor="t" anchorCtr="0">
            <a:noAutofit/>
          </a:bodyPr>
          <a:lstStyle/>
          <a:p>
            <a:r>
              <a:rPr lang="en-US" noProof="0" dirty="0"/>
              <a:t>Title</a:t>
            </a:r>
          </a:p>
        </p:txBody>
      </p:sp>
      <p:sp>
        <p:nvSpPr>
          <p:cNvPr id="3" name="Espace réservé du texte 2"/>
          <p:cNvSpPr>
            <a:spLocks noGrp="1"/>
          </p:cNvSpPr>
          <p:nvPr>
            <p:ph type="body" idx="1"/>
          </p:nvPr>
        </p:nvSpPr>
        <p:spPr bwMode="gray">
          <a:xfrm>
            <a:off x="478367" y="2468895"/>
            <a:ext cx="11235267" cy="3408379"/>
          </a:xfrm>
          <a:prstGeom prst="rect">
            <a:avLst/>
          </a:prstGeom>
        </p:spPr>
        <p:txBody>
          <a:bodyPr vert="horz" lIns="0" tIns="0" rIns="0" bIns="0" rtlCol="0" anchor="t" anchorCtr="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0" name="Rectangle: Top Corners Rounded 9">
            <a:extLst>
              <a:ext uri="{FF2B5EF4-FFF2-40B4-BE49-F238E27FC236}">
                <a16:creationId xmlns:a16="http://schemas.microsoft.com/office/drawing/2014/main" id="{0B7F9541-C97B-48CF-A18F-1699874A4375}"/>
              </a:ext>
            </a:extLst>
          </p:cNvPr>
          <p:cNvSpPr/>
          <p:nvPr userDrawn="1"/>
        </p:nvSpPr>
        <p:spPr>
          <a:xfrm rot="5400000">
            <a:off x="249221" y="5855378"/>
            <a:ext cx="384043" cy="882485"/>
          </a:xfrm>
          <a:prstGeom prst="round2SameRect">
            <a:avLst>
              <a:gd name="adj1" fmla="val 5000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11" name="Espace réservé du numéro de diapositive 5">
            <a:extLst>
              <a:ext uri="{FF2B5EF4-FFF2-40B4-BE49-F238E27FC236}">
                <a16:creationId xmlns:a16="http://schemas.microsoft.com/office/drawing/2014/main" id="{A1E2A341-D20A-46E1-A9EB-E11228A64AA5}"/>
              </a:ext>
            </a:extLst>
          </p:cNvPr>
          <p:cNvSpPr txBox="1">
            <a:spLocks/>
          </p:cNvSpPr>
          <p:nvPr userDrawn="1"/>
        </p:nvSpPr>
        <p:spPr>
          <a:xfrm>
            <a:off x="240019" y="6128750"/>
            <a:ext cx="576080" cy="335740"/>
          </a:xfrm>
          <a:prstGeom prst="rect">
            <a:avLst/>
          </a:prstGeom>
        </p:spPr>
        <p:txBody>
          <a:bodyPr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377"/>
            <a:fld id="{68B4BE67-042D-486B-8232-3ED23239DABD}" type="slidenum">
              <a:rPr lang="en-US" sz="1200" smtClean="0">
                <a:solidFill>
                  <a:srgbClr val="FFFFFF"/>
                </a:solidFill>
              </a:rPr>
              <a:pPr algn="r" defTabSz="914377"/>
              <a:t>‹N°›</a:t>
            </a:fld>
            <a:endParaRPr lang="en-US" sz="1200" dirty="0">
              <a:solidFill>
                <a:srgbClr val="FFFFFF"/>
              </a:solidFill>
            </a:endParaRPr>
          </a:p>
        </p:txBody>
      </p:sp>
      <p:pic>
        <p:nvPicPr>
          <p:cNvPr id="4" name="Image 3"/>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9611764" y="6187155"/>
            <a:ext cx="2225686" cy="301487"/>
          </a:xfrm>
          <a:prstGeom prst="rect">
            <a:avLst/>
          </a:prstGeom>
        </p:spPr>
      </p:pic>
      <p:grpSp>
        <p:nvGrpSpPr>
          <p:cNvPr id="9" name="Groupe 8"/>
          <p:cNvGrpSpPr/>
          <p:nvPr userDrawn="1"/>
        </p:nvGrpSpPr>
        <p:grpSpPr>
          <a:xfrm>
            <a:off x="11501102" y="171573"/>
            <a:ext cx="419436" cy="388988"/>
            <a:chOff x="11501102" y="171573"/>
            <a:chExt cx="419436" cy="388988"/>
          </a:xfrm>
        </p:grpSpPr>
        <p:sp>
          <p:nvSpPr>
            <p:cNvPr id="12"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6009105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Lst>
  <p:hf hdr="0"/>
  <p:txStyles>
    <p:titleStyle>
      <a:lvl1pPr algn="l" defTabSz="1219170" rtl="0" eaLnBrk="1" latinLnBrk="0" hangingPunct="1">
        <a:lnSpc>
          <a:spcPct val="90000"/>
        </a:lnSpc>
        <a:spcBef>
          <a:spcPct val="0"/>
        </a:spcBef>
        <a:buNone/>
        <a:defRPr sz="2667" b="1" kern="1200">
          <a:solidFill>
            <a:schemeClr val="tx2"/>
          </a:solidFill>
          <a:latin typeface="Arial Black" panose="020B0A04020102020204" pitchFamily="34" charset="0"/>
          <a:ea typeface="+mj-ea"/>
          <a:cs typeface="+mj-cs"/>
        </a:defRPr>
      </a:lvl1pPr>
    </p:titleStyle>
    <p:bodyStyle>
      <a:lvl1pPr marL="0" indent="0" algn="ctr" defTabSz="121917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6047" indent="-146047" algn="l" defTabSz="121917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917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996" indent="-143996" algn="l" defTabSz="121917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993" indent="-143996" algn="l" defTabSz="121917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3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e think-cell" r:id="rId34" imgW="395" imgH="396" progId="TCLayout.ActiveDocument.1">
                  <p:embed/>
                </p:oleObj>
              </mc:Choice>
              <mc:Fallback>
                <p:oleObj name="Diapositive think-cell" r:id="rId34" imgW="395" imgH="396" progId="TCLayout.ActiveDocument.1">
                  <p:embed/>
                  <p:pic>
                    <p:nvPicPr>
                      <p:cNvPr id="0" name=""/>
                      <p:cNvPicPr/>
                      <p:nvPr/>
                    </p:nvPicPr>
                    <p:blipFill>
                      <a:blip r:embed="rId35"/>
                      <a:stretch>
                        <a:fillRect/>
                      </a:stretch>
                    </p:blipFill>
                    <p:spPr>
                      <a:xfrm>
                        <a:off x="2118" y="2118"/>
                        <a:ext cx="2117" cy="2117"/>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478368" y="584884"/>
            <a:ext cx="11235267" cy="1188507"/>
          </a:xfrm>
          <a:prstGeom prst="rect">
            <a:avLst/>
          </a:prstGeom>
        </p:spPr>
        <p:txBody>
          <a:bodyPr vert="horz" lIns="0" tIns="0" rIns="0" bIns="0" rtlCol="0" anchor="t" anchorCtr="0">
            <a:noAutofit/>
          </a:bodyPr>
          <a:lstStyle/>
          <a:p>
            <a:r>
              <a:rPr lang="en-US" noProof="0" dirty="0"/>
              <a:t>Title</a:t>
            </a:r>
          </a:p>
        </p:txBody>
      </p:sp>
      <p:sp>
        <p:nvSpPr>
          <p:cNvPr id="3" name="Espace réservé du texte 2"/>
          <p:cNvSpPr>
            <a:spLocks noGrp="1"/>
          </p:cNvSpPr>
          <p:nvPr>
            <p:ph type="body" idx="1"/>
          </p:nvPr>
        </p:nvSpPr>
        <p:spPr bwMode="gray">
          <a:xfrm>
            <a:off x="478367" y="2468895"/>
            <a:ext cx="11235267" cy="3408379"/>
          </a:xfrm>
          <a:prstGeom prst="rect">
            <a:avLst/>
          </a:prstGeom>
        </p:spPr>
        <p:txBody>
          <a:bodyPr vert="horz" lIns="0" tIns="0" rIns="0" bIns="0" rtlCol="0" anchor="t" anchorCtr="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4" name="Espace réservé de la date 3"/>
          <p:cNvSpPr>
            <a:spLocks noGrp="1"/>
          </p:cNvSpPr>
          <p:nvPr>
            <p:ph type="dt" sz="half" idx="2"/>
          </p:nvPr>
        </p:nvSpPr>
        <p:spPr bwMode="gray">
          <a:xfrm>
            <a:off x="0" y="6405033"/>
            <a:ext cx="478368" cy="452968"/>
          </a:xfrm>
          <a:prstGeom prst="rect">
            <a:avLst/>
          </a:prstGeom>
        </p:spPr>
        <p:txBody>
          <a:bodyPr vert="horz" lIns="0" tIns="0" rIns="0" bIns="0" rtlCol="0" anchor="ctr" anchorCtr="0">
            <a:noAutofit/>
          </a:bodyPr>
          <a:lstStyle>
            <a:lvl1pPr algn="ctr">
              <a:defRPr sz="133">
                <a:solidFill>
                  <a:schemeClr val="bg1">
                    <a:alpha val="0"/>
                  </a:schemeClr>
                </a:solidFill>
              </a:defRPr>
            </a:lvl1pPr>
          </a:lstStyle>
          <a:p>
            <a:r>
              <a:rPr lang="fr-FR">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3"/>
          </p:nvPr>
        </p:nvSpPr>
        <p:spPr bwMode="gray">
          <a:xfrm>
            <a:off x="680561" y="6069294"/>
            <a:ext cx="9120000" cy="335740"/>
          </a:xfrm>
          <a:prstGeom prst="rect">
            <a:avLst/>
          </a:prstGeom>
        </p:spPr>
        <p:txBody>
          <a:bodyPr vert="horz" lIns="0" tIns="0" rIns="0" bIns="0" rtlCol="0" anchor="b" anchorCtr="0">
            <a:noAutofit/>
          </a:bodyPr>
          <a:lstStyle>
            <a:lvl1pPr algn="l">
              <a:defRPr sz="1067">
                <a:solidFill>
                  <a:schemeClr val="accent4"/>
                </a:solidFill>
              </a:defRPr>
            </a:lvl1pPr>
          </a:lstStyle>
          <a:p>
            <a:r>
              <a:rPr lang="en-US">
                <a:solidFill>
                  <a:srgbClr val="464B69"/>
                </a:solidFill>
              </a:rPr>
              <a:t>Presentation title</a:t>
            </a:r>
            <a:endParaRPr lang="en-US" dirty="0">
              <a:solidFill>
                <a:srgbClr val="464B69"/>
              </a:solidFill>
            </a:endParaRPr>
          </a:p>
        </p:txBody>
      </p:sp>
      <p:sp>
        <p:nvSpPr>
          <p:cNvPr id="6" name="Espace réservé du numéro de diapositive 5"/>
          <p:cNvSpPr>
            <a:spLocks noGrp="1"/>
          </p:cNvSpPr>
          <p:nvPr>
            <p:ph type="sldNum" sz="quarter" idx="4"/>
          </p:nvPr>
        </p:nvSpPr>
        <p:spPr bwMode="gray">
          <a:xfrm>
            <a:off x="-677" y="6069294"/>
            <a:ext cx="576080" cy="335740"/>
          </a:xfrm>
          <a:prstGeom prst="rect">
            <a:avLst/>
          </a:prstGeom>
        </p:spPr>
        <p:txBody>
          <a:bodyPr vert="horz" lIns="0" tIns="0" rIns="0" bIns="0" rtlCol="0" anchor="b" anchorCtr="0">
            <a:noAutofit/>
          </a:bodyPr>
          <a:lstStyle>
            <a:lvl1pPr algn="r">
              <a:defRPr sz="1067">
                <a:solidFill>
                  <a:schemeClr val="accent4"/>
                </a:solidFill>
              </a:defRPr>
            </a:lvl1pPr>
          </a:lstStyle>
          <a:p>
            <a:fld id="{733122C9-A0B9-462F-8757-0847AD287B63}" type="slidenum">
              <a:rPr lang="en-US" smtClean="0">
                <a:solidFill>
                  <a:srgbClr val="464B69"/>
                </a:solidFill>
              </a:rPr>
              <a:pPr/>
              <a:t>‹N°›</a:t>
            </a:fld>
            <a:endParaRPr lang="en-US" dirty="0">
              <a:solidFill>
                <a:srgbClr val="464B69"/>
              </a:solidFill>
            </a:endParaRPr>
          </a:p>
        </p:txBody>
      </p:sp>
    </p:spTree>
    <p:extLst>
      <p:ext uri="{BB962C8B-B14F-4D97-AF65-F5344CB8AC3E}">
        <p14:creationId xmlns:p14="http://schemas.microsoft.com/office/powerpoint/2010/main" val="781711811"/>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Lst>
  <p:hf hdr="0"/>
  <p:txStyles>
    <p:titleStyle>
      <a:lvl1pPr algn="l" defTabSz="1219170" rtl="0" eaLnBrk="1" latinLnBrk="0" hangingPunct="1">
        <a:lnSpc>
          <a:spcPct val="90000"/>
        </a:lnSpc>
        <a:spcBef>
          <a:spcPct val="0"/>
        </a:spcBef>
        <a:buNone/>
        <a:defRPr sz="2667" b="1" kern="1200">
          <a:solidFill>
            <a:schemeClr val="accent5"/>
          </a:solidFill>
          <a:latin typeface="+mj-lt"/>
          <a:ea typeface="+mj-ea"/>
          <a:cs typeface="+mj-cs"/>
        </a:defRPr>
      </a:lvl1pPr>
    </p:titleStyle>
    <p:bodyStyle>
      <a:lvl1pPr marL="0" indent="0" algn="ctr" defTabSz="121917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6047" indent="-146047" algn="ctr" defTabSz="121917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917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996" indent="-143996" algn="l" defTabSz="121917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993" indent="-143996" algn="l" defTabSz="121917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21" name="Object 20"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aphicFrame>
        <p:nvGraphicFramePr>
          <p:cNvPr id="9" name="Object 6" hidden="1">
            <a:extLst>
              <a:ext uri="{FF2B5EF4-FFF2-40B4-BE49-F238E27FC236}">
                <a16:creationId xmlns:a16="http://schemas.microsoft.com/office/drawing/2014/main" id="{40D8FA26-EAA7-4182-B104-108F5018E79B}"/>
              </a:ext>
            </a:extLst>
          </p:cNvPr>
          <p:cNvGraphicFramePr>
            <a:graphicFrameLocks noChangeAspect="1"/>
          </p:cNvGraphicFramePr>
          <p:nvPr userDrawn="1">
            <p:custDataLst>
              <p:tags r:id="rId14"/>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7" imgW="470" imgH="469" progId="TCLayout.ActiveDocument.1">
                  <p:embed/>
                </p:oleObj>
              </mc:Choice>
              <mc:Fallback>
                <p:oleObj name="think-cell Slide" r:id="rId17" imgW="470" imgH="469" progId="TCLayout.ActiveDocument.1">
                  <p:embed/>
                  <p:pic>
                    <p:nvPicPr>
                      <p:cNvPr id="7" name="Object 6" hidden="1">
                        <a:extLst>
                          <a:ext uri="{FF2B5EF4-FFF2-40B4-BE49-F238E27FC236}">
                            <a16:creationId xmlns:a16="http://schemas.microsoft.com/office/drawing/2014/main" id="{D480F899-3592-43A3-AE42-0DCCA3E1E207}"/>
                          </a:ext>
                        </a:extLst>
                      </p:cNvPr>
                      <p:cNvPicPr/>
                      <p:nvPr/>
                    </p:nvPicPr>
                    <p:blipFill>
                      <a:blip r:embed="rId18"/>
                      <a:stretch>
                        <a:fillRect/>
                      </a:stretch>
                    </p:blipFill>
                    <p:spPr>
                      <a:xfrm>
                        <a:off x="2118" y="2118"/>
                        <a:ext cx="2117" cy="2117"/>
                      </a:xfrm>
                      <a:prstGeom prst="rect">
                        <a:avLst/>
                      </a:prstGeom>
                    </p:spPr>
                  </p:pic>
                </p:oleObj>
              </mc:Fallback>
            </mc:AlternateContent>
          </a:graphicData>
        </a:graphic>
      </p:graphicFrame>
      <p:sp>
        <p:nvSpPr>
          <p:cNvPr id="10" name="Rectangle: Top Corners Rounded 9">
            <a:extLst>
              <a:ext uri="{FF2B5EF4-FFF2-40B4-BE49-F238E27FC236}">
                <a16:creationId xmlns:a16="http://schemas.microsoft.com/office/drawing/2014/main" id="{9CBF587A-E6A5-4471-B9B1-B75A7AE7B352}"/>
              </a:ext>
            </a:extLst>
          </p:cNvPr>
          <p:cNvSpPr/>
          <p:nvPr userDrawn="1"/>
        </p:nvSpPr>
        <p:spPr>
          <a:xfrm rot="5400000">
            <a:off x="249221" y="5855378"/>
            <a:ext cx="384043" cy="882485"/>
          </a:xfrm>
          <a:prstGeom prst="round2SameRect">
            <a:avLst>
              <a:gd name="adj1" fmla="val 5000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11" name="Espace réservé du numéro de diapositive 5">
            <a:extLst>
              <a:ext uri="{FF2B5EF4-FFF2-40B4-BE49-F238E27FC236}">
                <a16:creationId xmlns:a16="http://schemas.microsoft.com/office/drawing/2014/main" id="{B76EFE4E-7869-42EF-9CC0-89FF655815A3}"/>
              </a:ext>
            </a:extLst>
          </p:cNvPr>
          <p:cNvSpPr txBox="1">
            <a:spLocks/>
          </p:cNvSpPr>
          <p:nvPr userDrawn="1"/>
        </p:nvSpPr>
        <p:spPr>
          <a:xfrm>
            <a:off x="240019" y="6128750"/>
            <a:ext cx="576080" cy="335740"/>
          </a:xfrm>
          <a:prstGeom prst="rect">
            <a:avLst/>
          </a:prstGeom>
        </p:spPr>
        <p:txBody>
          <a:bodyPr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377"/>
            <a:fld id="{68B4BE67-042D-486B-8232-3ED23239DABD}" type="slidenum">
              <a:rPr lang="en-US" sz="1200" smtClean="0">
                <a:solidFill>
                  <a:srgbClr val="FFFFFF"/>
                </a:solidFill>
              </a:rPr>
              <a:pPr algn="r" defTabSz="914377"/>
              <a:t>‹N°›</a:t>
            </a:fld>
            <a:endParaRPr lang="en-US" sz="1200" dirty="0">
              <a:solidFill>
                <a:srgbClr val="FFFFFF"/>
              </a:solidFill>
            </a:endParaRPr>
          </a:p>
        </p:txBody>
      </p:sp>
      <p:pic>
        <p:nvPicPr>
          <p:cNvPr id="12" name="Image 11">
            <a:extLst>
              <a:ext uri="{FF2B5EF4-FFF2-40B4-BE49-F238E27FC236}">
                <a16:creationId xmlns:a16="http://schemas.microsoft.com/office/drawing/2014/main" id="{51BC7B0C-FE86-4C16-8607-D557F0817B8A}"/>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611764" y="6187155"/>
            <a:ext cx="2225686" cy="301487"/>
          </a:xfrm>
          <a:prstGeom prst="rect">
            <a:avLst/>
          </a:prstGeom>
        </p:spPr>
      </p:pic>
      <p:grpSp>
        <p:nvGrpSpPr>
          <p:cNvPr id="13" name="Groupe 12">
            <a:extLst>
              <a:ext uri="{FF2B5EF4-FFF2-40B4-BE49-F238E27FC236}">
                <a16:creationId xmlns:a16="http://schemas.microsoft.com/office/drawing/2014/main" id="{DC03AF3B-E260-4C8A-91C1-CCB365BD0E19}"/>
              </a:ext>
            </a:extLst>
          </p:cNvPr>
          <p:cNvGrpSpPr/>
          <p:nvPr userDrawn="1"/>
        </p:nvGrpSpPr>
        <p:grpSpPr>
          <a:xfrm>
            <a:off x="11501102" y="171573"/>
            <a:ext cx="419436" cy="388988"/>
            <a:chOff x="11501102" y="171573"/>
            <a:chExt cx="419436" cy="388988"/>
          </a:xfrm>
        </p:grpSpPr>
        <p:sp>
          <p:nvSpPr>
            <p:cNvPr id="14" name="Freeform 13">
              <a:extLst>
                <a:ext uri="{FF2B5EF4-FFF2-40B4-BE49-F238E27FC236}">
                  <a16:creationId xmlns:a16="http://schemas.microsoft.com/office/drawing/2014/main" id="{B0789387-57B0-4E91-AAA1-7ACF06E1FFF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4">
              <a:extLst>
                <a:ext uri="{FF2B5EF4-FFF2-40B4-BE49-F238E27FC236}">
                  <a16:creationId xmlns:a16="http://schemas.microsoft.com/office/drawing/2014/main" id="{0E5CCCAF-F1BD-4A84-A476-A9C894988BCC}"/>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89869592"/>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5" r:id="rId9"/>
    <p:sldLayoutId id="2147483737" r:id="rId10"/>
    <p:sldLayoutId id="2147483738" r:id="rId1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0.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image" Target="../media/image21.png"/><Relationship Id="rId7" Type="http://schemas.openxmlformats.org/officeDocument/2006/relationships/image" Target="../media/image36.jpeg"/><Relationship Id="rId2" Type="http://schemas.openxmlformats.org/officeDocument/2006/relationships/notesSlide" Target="../notesSlides/notesSlide7.xml"/><Relationship Id="rId1" Type="http://schemas.openxmlformats.org/officeDocument/2006/relationships/slideLayout" Target="../slideLayouts/slideLayout72.xml"/><Relationship Id="rId6" Type="http://schemas.openxmlformats.org/officeDocument/2006/relationships/image" Target="../media/image35.jpg"/><Relationship Id="rId5" Type="http://schemas.openxmlformats.org/officeDocument/2006/relationships/image" Target="../media/image34.png"/><Relationship Id="rId4" Type="http://schemas.openxmlformats.org/officeDocument/2006/relationships/image" Target="../media/image33.jpg"/><Relationship Id="rId9" Type="http://schemas.openxmlformats.org/officeDocument/2006/relationships/image" Target="../media/image3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2.xml"/></Relationships>
</file>

<file path=ppt/slides/_rels/slide12.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notesSlide" Target="../notesSlides/notesSlide9.xml"/><Relationship Id="rId1" Type="http://schemas.openxmlformats.org/officeDocument/2006/relationships/slideLayout" Target="../slideLayouts/slideLayout72.xml"/><Relationship Id="rId4" Type="http://schemas.openxmlformats.org/officeDocument/2006/relationships/image" Target="../media/image39.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2.xml"/></Relationships>
</file>

<file path=ppt/slides/_rels/slide14.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image" Target="../media/image40.png"/><Relationship Id="rId7" Type="http://schemas.openxmlformats.org/officeDocument/2006/relationships/image" Target="../media/image44.jpeg"/><Relationship Id="rId2" Type="http://schemas.openxmlformats.org/officeDocument/2006/relationships/notesSlide" Target="../notesSlides/notesSlide11.xml"/><Relationship Id="rId1" Type="http://schemas.openxmlformats.org/officeDocument/2006/relationships/slideLayout" Target="../slideLayouts/slideLayout72.xml"/><Relationship Id="rId6" Type="http://schemas.openxmlformats.org/officeDocument/2006/relationships/image" Target="../media/image43.png"/><Relationship Id="rId11" Type="http://schemas.openxmlformats.org/officeDocument/2006/relationships/image" Target="../media/image48.jp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2.xml"/></Relationships>
</file>

<file path=ppt/slides/_rels/slide16.xml.rels><?xml version="1.0" encoding="UTF-8" standalone="yes"?>
<Relationships xmlns="http://schemas.openxmlformats.org/package/2006/relationships"><Relationship Id="rId8" Type="http://schemas.openxmlformats.org/officeDocument/2006/relationships/image" Target="../media/image53.jpg"/><Relationship Id="rId3" Type="http://schemas.openxmlformats.org/officeDocument/2006/relationships/image" Target="../media/image49.png"/><Relationship Id="rId7"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72.xml"/><Relationship Id="rId6" Type="http://schemas.openxmlformats.org/officeDocument/2006/relationships/image" Target="../media/image51.png"/><Relationship Id="rId5" Type="http://schemas.openxmlformats.org/officeDocument/2006/relationships/image" Target="../media/image50.gif"/><Relationship Id="rId4" Type="http://schemas.microsoft.com/office/2007/relationships/hdphoto" Target="../media/hdphoto1.wdp"/><Relationship Id="rId9" Type="http://schemas.openxmlformats.org/officeDocument/2006/relationships/image" Target="../media/image54.png"/></Relationships>
</file>

<file path=ppt/slides/_rels/slide17.xml.rels><?xml version="1.0" encoding="UTF-8" standalone="yes"?>
<Relationships xmlns="http://schemas.openxmlformats.org/package/2006/relationships"><Relationship Id="rId3" Type="http://schemas.openxmlformats.org/officeDocument/2006/relationships/image" Target="../media/image410.png"/><Relationship Id="rId2" Type="http://schemas.openxmlformats.org/officeDocument/2006/relationships/notesSlide" Target="../notesSlides/notesSlide14.xml"/><Relationship Id="rId1" Type="http://schemas.openxmlformats.org/officeDocument/2006/relationships/slideLayout" Target="../slideLayouts/slideLayout72.xml"/></Relationships>
</file>

<file path=ppt/slides/_rels/slide18.xml.rels><?xml version="1.0" encoding="UTF-8" standalone="yes"?>
<Relationships xmlns="http://schemas.openxmlformats.org/package/2006/relationships"><Relationship Id="rId3" Type="http://schemas.openxmlformats.org/officeDocument/2006/relationships/image" Target="../media/image420.png"/><Relationship Id="rId2" Type="http://schemas.openxmlformats.org/officeDocument/2006/relationships/notesSlide" Target="../notesSlides/notesSlide15.xml"/><Relationship Id="rId1" Type="http://schemas.openxmlformats.org/officeDocument/2006/relationships/slideLayout" Target="../slideLayouts/slideLayout72.xml"/><Relationship Id="rId4" Type="http://schemas.openxmlformats.org/officeDocument/2006/relationships/chart" Target="../charts/char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6.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7.xml"/><Relationship Id="rId1" Type="http://schemas.openxmlformats.org/officeDocument/2006/relationships/slideLayout" Target="../slideLayouts/slideLayout72.xml"/><Relationship Id="rId5" Type="http://schemas.openxmlformats.org/officeDocument/2006/relationships/image" Target="../media/image46.png"/></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8.xml"/><Relationship Id="rId1" Type="http://schemas.openxmlformats.org/officeDocument/2006/relationships/slideLayout" Target="../slideLayouts/slideLayout72.xml"/><Relationship Id="rId5" Type="http://schemas.openxmlformats.org/officeDocument/2006/relationships/image" Target="../media/image57.png"/><Relationship Id="rId4" Type="http://schemas.openxmlformats.org/officeDocument/2006/relationships/image" Target="../media/image5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68.xml"/><Relationship Id="rId5" Type="http://schemas.openxmlformats.org/officeDocument/2006/relationships/image" Target="../media/image15.jpeg"/><Relationship Id="rId4" Type="http://schemas.openxmlformats.org/officeDocument/2006/relationships/image" Target="../media/image14.emf"/></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7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7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jpg"/></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7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72.xml"/><Relationship Id="rId6" Type="http://schemas.openxmlformats.org/officeDocument/2006/relationships/image" Target="../media/image31.jpeg"/><Relationship Id="rId5" Type="http://schemas.openxmlformats.org/officeDocument/2006/relationships/image" Target="../media/image30.pn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1"/>
          </p:nvPr>
        </p:nvSpPr>
        <p:spPr>
          <a:xfrm>
            <a:off x="5356685" y="628800"/>
            <a:ext cx="6727372" cy="2117329"/>
          </a:xfrm>
        </p:spPr>
        <p:txBody>
          <a:bodyPr/>
          <a:lstStyle/>
          <a:p>
            <a:pPr algn="ctr"/>
            <a:r>
              <a:rPr lang="fr-FR" dirty="0">
                <a:latin typeface="Arial Black" panose="020B0A04020102020204" pitchFamily="34" charset="0"/>
              </a:rPr>
              <a:t>Formation sur le pilotage des Fixations</a:t>
            </a:r>
            <a:endParaRPr lang="fr-FR" sz="3200" dirty="0"/>
          </a:p>
        </p:txBody>
      </p:sp>
      <p:sp>
        <p:nvSpPr>
          <p:cNvPr id="2" name="Sous-titre 1"/>
          <p:cNvSpPr>
            <a:spLocks noGrp="1"/>
          </p:cNvSpPr>
          <p:nvPr>
            <p:ph type="subTitle" idx="1"/>
          </p:nvPr>
        </p:nvSpPr>
        <p:spPr>
          <a:xfrm>
            <a:off x="7568734" y="4737408"/>
            <a:ext cx="4194069" cy="682984"/>
          </a:xfrm>
        </p:spPr>
        <p:txBody>
          <a:bodyPr/>
          <a:lstStyle/>
          <a:p>
            <a:r>
              <a:rPr lang="en-US" dirty="0"/>
              <a:t>Mars</a:t>
            </a:r>
            <a:r>
              <a:rPr lang="en-US" b="0" dirty="0"/>
              <a:t> 2023</a:t>
            </a:r>
          </a:p>
        </p:txBody>
      </p:sp>
    </p:spTree>
    <p:extLst>
      <p:ext uri="{BB962C8B-B14F-4D97-AF65-F5344CB8AC3E}">
        <p14:creationId xmlns:p14="http://schemas.microsoft.com/office/powerpoint/2010/main" val="1525446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p:cNvSpPr/>
          <p:nvPr/>
        </p:nvSpPr>
        <p:spPr>
          <a:xfrm rot="10800000">
            <a:off x="144038" y="6315373"/>
            <a:ext cx="412293" cy="338554"/>
          </a:xfrm>
          <a:prstGeom prst="rect">
            <a:avLst/>
          </a:prstGeom>
        </p:spPr>
        <p:txBody>
          <a:bodyPr wrap="none">
            <a:spAutoFit/>
          </a:bodyPr>
          <a:lstStyle>
            <a:defPPr>
              <a:defRPr lang="en-US"/>
            </a:defPPr>
            <a:lvl1pPr marL="0" algn="l" defTabSz="914340" rtl="0" eaLnBrk="1" latinLnBrk="0" hangingPunct="1">
              <a:defRPr sz="1800" kern="1200">
                <a:solidFill>
                  <a:schemeClr val="tx1"/>
                </a:solidFill>
                <a:latin typeface="+mn-lt"/>
                <a:ea typeface="+mn-ea"/>
                <a:cs typeface="+mn-cs"/>
              </a:defRPr>
            </a:lvl1pPr>
            <a:lvl2pPr marL="457170"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1" algn="l" defTabSz="914340" rtl="0" eaLnBrk="1" latinLnBrk="0" hangingPunct="1">
              <a:defRPr sz="1800" kern="1200">
                <a:solidFill>
                  <a:schemeClr val="tx1"/>
                </a:solidFill>
                <a:latin typeface="+mn-lt"/>
                <a:ea typeface="+mn-ea"/>
                <a:cs typeface="+mn-cs"/>
              </a:defRPr>
            </a:lvl7pPr>
            <a:lvl8pPr marL="3200193"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a:lstStyle>
          <a:p>
            <a:pPr algn="ctr"/>
            <a:r>
              <a:rPr lang="en-AU" sz="1600" dirty="0">
                <a:solidFill>
                  <a:schemeClr val="bg1"/>
                </a:solidFill>
                <a:latin typeface="Lato"/>
              </a:rPr>
              <a:t>15</a:t>
            </a:r>
          </a:p>
        </p:txBody>
      </p:sp>
      <p:sp>
        <p:nvSpPr>
          <p:cNvPr id="2" name="Espace réservé du numéro de diapositive 1"/>
          <p:cNvSpPr>
            <a:spLocks noGrp="1"/>
          </p:cNvSpPr>
          <p:nvPr>
            <p:ph type="sldNum" sz="quarter" idx="12"/>
          </p:nvPr>
        </p:nvSpPr>
        <p:spPr>
          <a:xfrm>
            <a:off x="9280997" y="6289289"/>
            <a:ext cx="2743200" cy="365125"/>
          </a:xfrm>
        </p:spPr>
        <p:txBody>
          <a:bodyPr vert="horz" lIns="91440" tIns="45720" rIns="91440" bIns="45720" rtlCol="0" anchor="ctr"/>
          <a:lstStyle/>
          <a:p>
            <a:r>
              <a:rPr lang="fr-FR" sz="1600" dirty="0">
                <a:solidFill>
                  <a:schemeClr val="bg1"/>
                </a:solidFill>
                <a:latin typeface="Lato"/>
              </a:rPr>
              <a:t>6</a:t>
            </a:r>
          </a:p>
        </p:txBody>
      </p:sp>
      <p:sp>
        <p:nvSpPr>
          <p:cNvPr id="34" name="ZoneTexte 53">
            <a:extLst>
              <a:ext uri="{FF2B5EF4-FFF2-40B4-BE49-F238E27FC236}">
                <a16:creationId xmlns:a16="http://schemas.microsoft.com/office/drawing/2014/main" id="{D8885FCA-35FC-4F99-ADC9-3760D0B70E98}"/>
              </a:ext>
            </a:extLst>
          </p:cNvPr>
          <p:cNvSpPr txBox="1"/>
          <p:nvPr/>
        </p:nvSpPr>
        <p:spPr>
          <a:xfrm>
            <a:off x="390860" y="74183"/>
            <a:ext cx="1821107"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Environnement </a:t>
            </a:r>
          </a:p>
          <a:p>
            <a:r>
              <a:rPr lang="it-IT" dirty="0"/>
              <a:t>du projet</a:t>
            </a:r>
            <a:endParaRPr lang="fr-FR" dirty="0"/>
          </a:p>
        </p:txBody>
      </p:sp>
      <p:sp>
        <p:nvSpPr>
          <p:cNvPr id="35" name="ZoneTexte 54">
            <a:extLst>
              <a:ext uri="{FF2B5EF4-FFF2-40B4-BE49-F238E27FC236}">
                <a16:creationId xmlns:a16="http://schemas.microsoft.com/office/drawing/2014/main" id="{075A0EF2-40C2-48B5-9CBE-61F1E4B47A52}"/>
              </a:ext>
            </a:extLst>
          </p:cNvPr>
          <p:cNvSpPr txBox="1"/>
          <p:nvPr/>
        </p:nvSpPr>
        <p:spPr>
          <a:xfrm>
            <a:off x="6433678" y="74184"/>
            <a:ext cx="1784587" cy="646331"/>
          </a:xfrm>
          <a:prstGeom prst="rect">
            <a:avLst/>
          </a:prstGeom>
          <a:solidFill>
            <a:schemeClr val="bg2"/>
          </a:solidFill>
        </p:spPr>
        <p:txBody>
          <a:bodyPr wrap="square" rtlCol="0">
            <a:spAutoFit/>
          </a:bodyPr>
          <a:lstStyle>
            <a:defPPr>
              <a:defRPr lang="fr-FR"/>
            </a:defPPr>
            <a:lvl1pPr algn="ctr">
              <a:defRPr sz="2000">
                <a:latin typeface="Lato  "/>
              </a:defRPr>
            </a:lvl1pPr>
          </a:lstStyle>
          <a:p>
            <a:r>
              <a:rPr lang="it-IT" sz="1800" dirty="0"/>
              <a:t>Mise en oeuvre du projet</a:t>
            </a:r>
            <a:endParaRPr lang="fr-FR" sz="1800" dirty="0"/>
          </a:p>
        </p:txBody>
      </p:sp>
      <p:sp>
        <p:nvSpPr>
          <p:cNvPr id="36" name="ZoneTexte 55">
            <a:extLst>
              <a:ext uri="{FF2B5EF4-FFF2-40B4-BE49-F238E27FC236}">
                <a16:creationId xmlns:a16="http://schemas.microsoft.com/office/drawing/2014/main" id="{AA7A650D-08A4-430F-9BA3-68642D5C20D7}"/>
              </a:ext>
            </a:extLst>
          </p:cNvPr>
          <p:cNvSpPr txBox="1"/>
          <p:nvPr/>
        </p:nvSpPr>
        <p:spPr>
          <a:xfrm>
            <a:off x="9319488" y="74730"/>
            <a:ext cx="1752879" cy="646331"/>
          </a:xfrm>
          <a:prstGeom prst="rect">
            <a:avLst/>
          </a:prstGeom>
          <a:solidFill>
            <a:schemeClr val="bg2"/>
          </a:solidFill>
        </p:spPr>
        <p:txBody>
          <a:bodyPr wrap="square" rtlCol="0">
            <a:spAutoFit/>
          </a:bodyPr>
          <a:lstStyle/>
          <a:p>
            <a:pPr algn="ctr"/>
            <a:r>
              <a:rPr lang="it-IT" dirty="0">
                <a:latin typeface="Lato  "/>
              </a:rPr>
              <a:t>Conclusion et</a:t>
            </a:r>
          </a:p>
          <a:p>
            <a:pPr algn="ctr"/>
            <a:r>
              <a:rPr lang="it-IT" dirty="0">
                <a:latin typeface="Lato  "/>
              </a:rPr>
              <a:t> Perspectives</a:t>
            </a:r>
            <a:endParaRPr lang="fr-FR" dirty="0">
              <a:latin typeface="Lato  "/>
            </a:endParaRPr>
          </a:p>
        </p:txBody>
      </p:sp>
      <p:cxnSp>
        <p:nvCxnSpPr>
          <p:cNvPr id="37" name="Connecteur droit 56">
            <a:extLst>
              <a:ext uri="{FF2B5EF4-FFF2-40B4-BE49-F238E27FC236}">
                <a16:creationId xmlns:a16="http://schemas.microsoft.com/office/drawing/2014/main" id="{6BC9D870-64CF-4086-8165-248FB9DF834E}"/>
              </a:ext>
            </a:extLst>
          </p:cNvPr>
          <p:cNvCxnSpPr>
            <a:cxnSpLocks/>
          </p:cNvCxnSpPr>
          <p:nvPr/>
        </p:nvCxnSpPr>
        <p:spPr>
          <a:xfrm>
            <a:off x="11077903" y="410171"/>
            <a:ext cx="793875"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38" name="Connecteur droit 57">
            <a:extLst>
              <a:ext uri="{FF2B5EF4-FFF2-40B4-BE49-F238E27FC236}">
                <a16:creationId xmlns:a16="http://schemas.microsoft.com/office/drawing/2014/main" id="{886A79F6-775A-4F22-9876-760E63F856F8}"/>
              </a:ext>
            </a:extLst>
          </p:cNvPr>
          <p:cNvCxnSpPr>
            <a:cxnSpLocks/>
            <a:stCxn id="34" idx="3"/>
            <a:endCxn id="44" idx="1"/>
          </p:cNvCxnSpPr>
          <p:nvPr/>
        </p:nvCxnSpPr>
        <p:spPr>
          <a:xfrm>
            <a:off x="2211967" y="397349"/>
            <a:ext cx="1101223"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39" name="Connecteur droit 58">
            <a:extLst>
              <a:ext uri="{FF2B5EF4-FFF2-40B4-BE49-F238E27FC236}">
                <a16:creationId xmlns:a16="http://schemas.microsoft.com/office/drawing/2014/main" id="{07495931-39A8-4586-8587-DFE560C22457}"/>
              </a:ext>
            </a:extLst>
          </p:cNvPr>
          <p:cNvCxnSpPr>
            <a:cxnSpLocks/>
            <a:stCxn id="35" idx="3"/>
            <a:endCxn id="36" idx="1"/>
          </p:cNvCxnSpPr>
          <p:nvPr/>
        </p:nvCxnSpPr>
        <p:spPr>
          <a:xfrm>
            <a:off x="8218265" y="397350"/>
            <a:ext cx="1101223" cy="546"/>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40" name="Group 3">
            <a:extLst>
              <a:ext uri="{FF2B5EF4-FFF2-40B4-BE49-F238E27FC236}">
                <a16:creationId xmlns:a16="http://schemas.microsoft.com/office/drawing/2014/main" id="{90466E8F-EAEA-4188-BAB4-CDB3D5791868}"/>
              </a:ext>
            </a:extLst>
          </p:cNvPr>
          <p:cNvGrpSpPr/>
          <p:nvPr/>
        </p:nvGrpSpPr>
        <p:grpSpPr>
          <a:xfrm rot="10800000">
            <a:off x="11632841" y="410171"/>
            <a:ext cx="504000" cy="6352766"/>
            <a:chOff x="-5771165" y="1295207"/>
            <a:chExt cx="504000" cy="6352766"/>
          </a:xfrm>
          <a:solidFill>
            <a:srgbClr val="020088"/>
          </a:solidFill>
        </p:grpSpPr>
        <p:cxnSp>
          <p:nvCxnSpPr>
            <p:cNvPr id="41" name="Straight Connector 9">
              <a:extLst>
                <a:ext uri="{FF2B5EF4-FFF2-40B4-BE49-F238E27FC236}">
                  <a16:creationId xmlns:a16="http://schemas.microsoft.com/office/drawing/2014/main" id="{850D966E-D121-46A2-A9B6-126C44278D70}"/>
                </a:ext>
              </a:extLst>
            </p:cNvPr>
            <p:cNvCxnSpPr>
              <a:cxnSpLocks/>
            </p:cNvCxnSpPr>
            <p:nvPr/>
          </p:nvCxnSpPr>
          <p:spPr>
            <a:xfrm rot="10800000" flipV="1">
              <a:off x="-5506102" y="1610316"/>
              <a:ext cx="0" cy="6037657"/>
            </a:xfrm>
            <a:prstGeom prst="line">
              <a:avLst/>
            </a:prstGeom>
            <a:grpFill/>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42" name="Teardrop 38">
              <a:extLst>
                <a:ext uri="{FF2B5EF4-FFF2-40B4-BE49-F238E27FC236}">
                  <a16:creationId xmlns:a16="http://schemas.microsoft.com/office/drawing/2014/main" id="{03E30689-2FFD-45ED-9EC0-5A673DE16196}"/>
                </a:ext>
              </a:extLst>
            </p:cNvPr>
            <p:cNvSpPr/>
            <p:nvPr/>
          </p:nvSpPr>
          <p:spPr>
            <a:xfrm rot="8100000">
              <a:off x="-5771165" y="1295207"/>
              <a:ext cx="504000" cy="504000"/>
            </a:xfrm>
            <a:prstGeom prst="teardrop">
              <a:avLst>
                <a:gd name="adj" fmla="val 9891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dirty="0"/>
            </a:p>
          </p:txBody>
        </p:sp>
      </p:grpSp>
      <p:sp>
        <p:nvSpPr>
          <p:cNvPr id="43" name="Espace réservé du numéro de diapositive 1">
            <a:extLst>
              <a:ext uri="{FF2B5EF4-FFF2-40B4-BE49-F238E27FC236}">
                <a16:creationId xmlns:a16="http://schemas.microsoft.com/office/drawing/2014/main" id="{61C7C86C-F77D-471A-BEC3-BD649C753A32}"/>
              </a:ext>
            </a:extLst>
          </p:cNvPr>
          <p:cNvSpPr txBox="1">
            <a:spLocks/>
          </p:cNvSpPr>
          <p:nvPr/>
        </p:nvSpPr>
        <p:spPr>
          <a:xfrm>
            <a:off x="9292085" y="6296927"/>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solidFill>
                <a:latin typeface="Lato"/>
              </a:rPr>
              <a:t>6</a:t>
            </a:r>
          </a:p>
        </p:txBody>
      </p:sp>
      <p:sp>
        <p:nvSpPr>
          <p:cNvPr id="44" name="ZoneTexte 54">
            <a:extLst>
              <a:ext uri="{FF2B5EF4-FFF2-40B4-BE49-F238E27FC236}">
                <a16:creationId xmlns:a16="http://schemas.microsoft.com/office/drawing/2014/main" id="{F6E1A537-9FC1-4A8A-BECF-A513605A1A33}"/>
              </a:ext>
            </a:extLst>
          </p:cNvPr>
          <p:cNvSpPr txBox="1"/>
          <p:nvPr/>
        </p:nvSpPr>
        <p:spPr>
          <a:xfrm>
            <a:off x="3313190" y="74184"/>
            <a:ext cx="2024481" cy="646331"/>
          </a:xfrm>
          <a:prstGeom prst="rect">
            <a:avLst/>
          </a:prstGeom>
          <a:solidFill>
            <a:srgbClr val="020088"/>
          </a:solidFill>
        </p:spPr>
        <p:txBody>
          <a:bodyPr wrap="square" rtlCol="0">
            <a:spAutoFit/>
          </a:bodyPr>
          <a:lstStyle>
            <a:defPPr>
              <a:defRPr lang="fr-FR"/>
            </a:defPPr>
            <a:lvl1pPr algn="ctr">
              <a:defRPr>
                <a:solidFill>
                  <a:schemeClr val="bg1"/>
                </a:solidFill>
                <a:latin typeface="Lato  "/>
              </a:defRPr>
            </a:lvl1pPr>
          </a:lstStyle>
          <a:p>
            <a:r>
              <a:rPr lang="it-IT" dirty="0"/>
              <a:t>Contexte Général</a:t>
            </a:r>
          </a:p>
          <a:p>
            <a:r>
              <a:rPr lang="it-IT" dirty="0"/>
              <a:t> du projet</a:t>
            </a:r>
          </a:p>
        </p:txBody>
      </p:sp>
      <p:cxnSp>
        <p:nvCxnSpPr>
          <p:cNvPr id="45" name="Connecteur droit 57">
            <a:extLst>
              <a:ext uri="{FF2B5EF4-FFF2-40B4-BE49-F238E27FC236}">
                <a16:creationId xmlns:a16="http://schemas.microsoft.com/office/drawing/2014/main" id="{02317BB6-B80E-4776-BB98-9571F0DC567C}"/>
              </a:ext>
            </a:extLst>
          </p:cNvPr>
          <p:cNvCxnSpPr>
            <a:cxnSpLocks/>
            <a:stCxn id="44" idx="3"/>
            <a:endCxn id="35" idx="1"/>
          </p:cNvCxnSpPr>
          <p:nvPr/>
        </p:nvCxnSpPr>
        <p:spPr>
          <a:xfrm>
            <a:off x="5337671" y="397350"/>
            <a:ext cx="1096007" cy="0"/>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46" name="Groupe 28">
            <a:extLst>
              <a:ext uri="{FF2B5EF4-FFF2-40B4-BE49-F238E27FC236}">
                <a16:creationId xmlns:a16="http://schemas.microsoft.com/office/drawing/2014/main" id="{614EF61D-FD86-444B-9D92-2B050B77C8AC}"/>
              </a:ext>
            </a:extLst>
          </p:cNvPr>
          <p:cNvGrpSpPr/>
          <p:nvPr/>
        </p:nvGrpSpPr>
        <p:grpSpPr>
          <a:xfrm>
            <a:off x="144038" y="861075"/>
            <a:ext cx="1996812" cy="423771"/>
            <a:chOff x="1753713" y="816113"/>
            <a:chExt cx="1441631" cy="423771"/>
          </a:xfrm>
        </p:grpSpPr>
        <p:sp>
          <p:nvSpPr>
            <p:cNvPr id="47" name="ZoneTexte 20">
              <a:extLst>
                <a:ext uri="{FF2B5EF4-FFF2-40B4-BE49-F238E27FC236}">
                  <a16:creationId xmlns:a16="http://schemas.microsoft.com/office/drawing/2014/main" id="{F97867DB-3219-4369-A6C0-14CDE690DF22}"/>
                </a:ext>
              </a:extLst>
            </p:cNvPr>
            <p:cNvSpPr txBox="1"/>
            <p:nvPr/>
          </p:nvSpPr>
          <p:spPr>
            <a:xfrm>
              <a:off x="1753713" y="816113"/>
              <a:ext cx="1441631"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600" b="1" dirty="0">
                  <a:latin typeface="Lato  "/>
                </a:rPr>
                <a:t>Problématique</a:t>
              </a:r>
            </a:p>
          </p:txBody>
        </p:sp>
        <p:cxnSp>
          <p:nvCxnSpPr>
            <p:cNvPr id="48" name="Connecteur droit 51">
              <a:extLst>
                <a:ext uri="{FF2B5EF4-FFF2-40B4-BE49-F238E27FC236}">
                  <a16:creationId xmlns:a16="http://schemas.microsoft.com/office/drawing/2014/main" id="{D048288E-3873-4BAE-A286-2D7021695163}"/>
                </a:ext>
              </a:extLst>
            </p:cNvPr>
            <p:cNvCxnSpPr/>
            <p:nvPr/>
          </p:nvCxnSpPr>
          <p:spPr>
            <a:xfrm>
              <a:off x="1860066" y="1239884"/>
              <a:ext cx="540001" cy="0"/>
            </a:xfrm>
            <a:prstGeom prst="line">
              <a:avLst/>
            </a:prstGeom>
            <a:ln w="28575">
              <a:solidFill>
                <a:srgbClr val="EE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9" name="Groupe 12">
            <a:extLst>
              <a:ext uri="{FF2B5EF4-FFF2-40B4-BE49-F238E27FC236}">
                <a16:creationId xmlns:a16="http://schemas.microsoft.com/office/drawing/2014/main" id="{7713009C-FD80-4C89-B727-0BB90C4CB39C}"/>
              </a:ext>
            </a:extLst>
          </p:cNvPr>
          <p:cNvGrpSpPr/>
          <p:nvPr/>
        </p:nvGrpSpPr>
        <p:grpSpPr>
          <a:xfrm>
            <a:off x="4378238" y="860921"/>
            <a:ext cx="3233729" cy="379493"/>
            <a:chOff x="5059598" y="818819"/>
            <a:chExt cx="3233729" cy="379493"/>
          </a:xfrm>
        </p:grpSpPr>
        <p:sp>
          <p:nvSpPr>
            <p:cNvPr id="50" name="ZoneTexte 23">
              <a:extLst>
                <a:ext uri="{FF2B5EF4-FFF2-40B4-BE49-F238E27FC236}">
                  <a16:creationId xmlns:a16="http://schemas.microsoft.com/office/drawing/2014/main" id="{DD5226CF-0896-4E8B-A196-3C4001B34720}"/>
                </a:ext>
              </a:extLst>
            </p:cNvPr>
            <p:cNvSpPr txBox="1"/>
            <p:nvPr/>
          </p:nvSpPr>
          <p:spPr>
            <a:xfrm>
              <a:off x="5059598" y="818819"/>
              <a:ext cx="3233729"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lumMod val="65000"/>
                    </a:schemeClr>
                  </a:solidFill>
                </a:rPr>
                <a:t>Méthodologie de résolution</a:t>
              </a:r>
            </a:p>
          </p:txBody>
        </p:sp>
        <p:cxnSp>
          <p:nvCxnSpPr>
            <p:cNvPr id="51" name="Connecteur droit 64">
              <a:extLst>
                <a:ext uri="{FF2B5EF4-FFF2-40B4-BE49-F238E27FC236}">
                  <a16:creationId xmlns:a16="http://schemas.microsoft.com/office/drawing/2014/main" id="{DBDFC1D2-98C6-4D62-9AAA-AB035E716482}"/>
                </a:ext>
              </a:extLst>
            </p:cNvPr>
            <p:cNvCxnSpPr/>
            <p:nvPr/>
          </p:nvCxnSpPr>
          <p:spPr>
            <a:xfrm>
              <a:off x="5411034" y="1198312"/>
              <a:ext cx="771015"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e 59">
            <a:extLst>
              <a:ext uri="{FF2B5EF4-FFF2-40B4-BE49-F238E27FC236}">
                <a16:creationId xmlns:a16="http://schemas.microsoft.com/office/drawing/2014/main" id="{7D2051A2-B809-45AB-8D3A-BE8D0F7C4204}"/>
              </a:ext>
            </a:extLst>
          </p:cNvPr>
          <p:cNvGrpSpPr/>
          <p:nvPr/>
        </p:nvGrpSpPr>
        <p:grpSpPr>
          <a:xfrm>
            <a:off x="7766479" y="841128"/>
            <a:ext cx="4307093" cy="399286"/>
            <a:chOff x="3692310" y="58690"/>
            <a:chExt cx="1655092" cy="420701"/>
          </a:xfrm>
        </p:grpSpPr>
        <p:sp>
          <p:nvSpPr>
            <p:cNvPr id="53" name="ZoneTexte 60">
              <a:extLst>
                <a:ext uri="{FF2B5EF4-FFF2-40B4-BE49-F238E27FC236}">
                  <a16:creationId xmlns:a16="http://schemas.microsoft.com/office/drawing/2014/main" id="{0BDFD350-A9C6-4292-B85B-09DC5057582A}"/>
                </a:ext>
              </a:extLst>
            </p:cNvPr>
            <p:cNvSpPr txBox="1"/>
            <p:nvPr/>
          </p:nvSpPr>
          <p:spPr>
            <a:xfrm>
              <a:off x="3692310" y="58690"/>
              <a:ext cx="1655092" cy="356712"/>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lumMod val="65000"/>
                    </a:schemeClr>
                  </a:solidFill>
                </a:rPr>
                <a:t>Planification</a:t>
              </a:r>
              <a:r>
                <a:rPr lang="fr-FR" sz="1600" b="1" dirty="0"/>
                <a:t> </a:t>
              </a:r>
              <a:r>
                <a:rPr lang="fr-FR" sz="1600" dirty="0">
                  <a:solidFill>
                    <a:schemeClr val="bg1">
                      <a:lumMod val="65000"/>
                    </a:schemeClr>
                  </a:solidFill>
                </a:rPr>
                <a:t>du projet</a:t>
              </a:r>
            </a:p>
          </p:txBody>
        </p:sp>
        <p:cxnSp>
          <p:nvCxnSpPr>
            <p:cNvPr id="54" name="Connecteur droit 61">
              <a:extLst>
                <a:ext uri="{FF2B5EF4-FFF2-40B4-BE49-F238E27FC236}">
                  <a16:creationId xmlns:a16="http://schemas.microsoft.com/office/drawing/2014/main" id="{00BD45FF-3E6D-416F-A9D3-4785CFF629B2}"/>
                </a:ext>
              </a:extLst>
            </p:cNvPr>
            <p:cNvCxnSpPr/>
            <p:nvPr/>
          </p:nvCxnSpPr>
          <p:spPr>
            <a:xfrm>
              <a:off x="3911241" y="479391"/>
              <a:ext cx="296279"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273A51B8-9D59-41D7-900B-CA1B990DBC29}"/>
              </a:ext>
            </a:extLst>
          </p:cNvPr>
          <p:cNvGrpSpPr/>
          <p:nvPr/>
        </p:nvGrpSpPr>
        <p:grpSpPr>
          <a:xfrm>
            <a:off x="1891376" y="1466922"/>
            <a:ext cx="8153645" cy="5187005"/>
            <a:chOff x="1918279" y="1284846"/>
            <a:chExt cx="8153645" cy="5187005"/>
          </a:xfrm>
        </p:grpSpPr>
        <p:pic>
          <p:nvPicPr>
            <p:cNvPr id="7" name="Picture 6">
              <a:extLst>
                <a:ext uri="{FF2B5EF4-FFF2-40B4-BE49-F238E27FC236}">
                  <a16:creationId xmlns:a16="http://schemas.microsoft.com/office/drawing/2014/main" id="{D0D3AD77-21AC-4961-88DC-BEE7CBCC9C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18279" y="2332308"/>
              <a:ext cx="8153645" cy="4139543"/>
            </a:xfrm>
            <a:prstGeom prst="rect">
              <a:avLst/>
            </a:prstGeom>
          </p:spPr>
        </p:pic>
        <p:grpSp>
          <p:nvGrpSpPr>
            <p:cNvPr id="18" name="Group 17">
              <a:extLst>
                <a:ext uri="{FF2B5EF4-FFF2-40B4-BE49-F238E27FC236}">
                  <a16:creationId xmlns:a16="http://schemas.microsoft.com/office/drawing/2014/main" id="{6EB51849-80D9-4E2D-BBF8-F3D6DF60D196}"/>
                </a:ext>
              </a:extLst>
            </p:cNvPr>
            <p:cNvGrpSpPr/>
            <p:nvPr/>
          </p:nvGrpSpPr>
          <p:grpSpPr>
            <a:xfrm>
              <a:off x="2453751" y="1284846"/>
              <a:ext cx="1861850" cy="1568887"/>
              <a:chOff x="2368627" y="1240414"/>
              <a:chExt cx="1861850" cy="1568887"/>
            </a:xfrm>
          </p:grpSpPr>
          <p:sp>
            <p:nvSpPr>
              <p:cNvPr id="13" name="Oval 12">
                <a:extLst>
                  <a:ext uri="{FF2B5EF4-FFF2-40B4-BE49-F238E27FC236}">
                    <a16:creationId xmlns:a16="http://schemas.microsoft.com/office/drawing/2014/main" id="{26906655-75FF-43CD-97DB-7BEFE79D903E}"/>
                  </a:ext>
                </a:extLst>
              </p:cNvPr>
              <p:cNvSpPr/>
              <p:nvPr/>
            </p:nvSpPr>
            <p:spPr>
              <a:xfrm>
                <a:off x="4054207" y="2655473"/>
                <a:ext cx="176270" cy="153828"/>
              </a:xfrm>
              <a:prstGeom prst="ellipse">
                <a:avLst/>
              </a:prstGeom>
              <a:solidFill>
                <a:srgbClr val="0200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5" name="Straight Connector 14">
                <a:extLst>
                  <a:ext uri="{FF2B5EF4-FFF2-40B4-BE49-F238E27FC236}">
                    <a16:creationId xmlns:a16="http://schemas.microsoft.com/office/drawing/2014/main" id="{2CEC54E4-43B1-4BE6-B3AD-86A4717F8201}"/>
                  </a:ext>
                </a:extLst>
              </p:cNvPr>
              <p:cNvCxnSpPr>
                <a:cxnSpLocks/>
                <a:stCxn id="13" idx="1"/>
              </p:cNvCxnSpPr>
              <p:nvPr/>
            </p:nvCxnSpPr>
            <p:spPr>
              <a:xfrm flipH="1" flipV="1">
                <a:off x="3427079" y="1894901"/>
                <a:ext cx="652942" cy="783100"/>
              </a:xfrm>
              <a:prstGeom prst="line">
                <a:avLst/>
              </a:prstGeom>
              <a:ln w="28575">
                <a:solidFill>
                  <a:srgbClr val="020088"/>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AFCCD9AD-70D6-46A8-B603-4AACA0ADB866}"/>
                  </a:ext>
                </a:extLst>
              </p:cNvPr>
              <p:cNvSpPr/>
              <p:nvPr/>
            </p:nvSpPr>
            <p:spPr>
              <a:xfrm>
                <a:off x="2368627" y="1240414"/>
                <a:ext cx="1711394" cy="654482"/>
              </a:xfrm>
              <a:prstGeom prst="rect">
                <a:avLst/>
              </a:prstGeom>
              <a:ln w="28575">
                <a:solidFill>
                  <a:srgbClr val="020088"/>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b="1" dirty="0">
                    <a:latin typeface="Times New Roman" panose="02020603050405020304" pitchFamily="18" charset="0"/>
                    <a:cs typeface="Times New Roman" panose="02020603050405020304" pitchFamily="18" charset="0"/>
                  </a:rPr>
                  <a:t>Barre de toit</a:t>
                </a:r>
              </a:p>
            </p:txBody>
          </p:sp>
        </p:grpSp>
      </p:grpSp>
      <p:pic>
        <p:nvPicPr>
          <p:cNvPr id="69" name="Picture 68">
            <a:extLst>
              <a:ext uri="{FF2B5EF4-FFF2-40B4-BE49-F238E27FC236}">
                <a16:creationId xmlns:a16="http://schemas.microsoft.com/office/drawing/2014/main" id="{5B607817-4BF4-41A1-9C3B-E8787F76D5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604" y="1871965"/>
            <a:ext cx="5499947" cy="4124960"/>
          </a:xfrm>
          <a:prstGeom prst="rect">
            <a:avLst/>
          </a:prstGeom>
        </p:spPr>
      </p:pic>
      <p:pic>
        <p:nvPicPr>
          <p:cNvPr id="21" name="Picture 20">
            <a:extLst>
              <a:ext uri="{FF2B5EF4-FFF2-40B4-BE49-F238E27FC236}">
                <a16:creationId xmlns:a16="http://schemas.microsoft.com/office/drawing/2014/main" id="{F3D32EB3-908F-4FA7-B8CC-C62D15EA637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20664720">
            <a:off x="1265735" y="2473765"/>
            <a:ext cx="3583028" cy="3590340"/>
          </a:xfrm>
          <a:prstGeom prst="rect">
            <a:avLst/>
          </a:prstGeom>
        </p:spPr>
      </p:pic>
      <p:sp>
        <p:nvSpPr>
          <p:cNvPr id="74" name="Flèche droite 115">
            <a:extLst>
              <a:ext uri="{FF2B5EF4-FFF2-40B4-BE49-F238E27FC236}">
                <a16:creationId xmlns:a16="http://schemas.microsoft.com/office/drawing/2014/main" id="{766F2BC2-660C-4FFF-B3B8-D6EC6CC1A999}"/>
              </a:ext>
            </a:extLst>
          </p:cNvPr>
          <p:cNvSpPr/>
          <p:nvPr/>
        </p:nvSpPr>
        <p:spPr>
          <a:xfrm>
            <a:off x="5483083" y="3564445"/>
            <a:ext cx="717088" cy="787218"/>
          </a:xfrm>
          <a:prstGeom prst="rightArrow">
            <a:avLst/>
          </a:prstGeom>
          <a:solidFill>
            <a:srgbClr val="020088"/>
          </a:solidFill>
        </p:spPr>
        <p:style>
          <a:lnRef idx="0">
            <a:schemeClr val="dk1">
              <a:hueOff val="0"/>
              <a:satOff val="0"/>
              <a:lumOff val="0"/>
              <a:alphaOff val="0"/>
            </a:schemeClr>
          </a:lnRef>
          <a:fillRef idx="1">
            <a:schemeClr val="accent2">
              <a:tint val="40000"/>
              <a:hueOff val="0"/>
              <a:satOff val="0"/>
              <a:lumOff val="0"/>
              <a:alphaOff val="0"/>
            </a:schemeClr>
          </a:fillRef>
          <a:effectRef idx="2">
            <a:schemeClr val="accent2">
              <a:tint val="40000"/>
              <a:hueOff val="0"/>
              <a:satOff val="0"/>
              <a:lumOff val="0"/>
              <a:alphaOff val="0"/>
            </a:schemeClr>
          </a:effectRef>
          <a:fontRef idx="minor">
            <a:schemeClr val="dk1">
              <a:hueOff val="0"/>
              <a:satOff val="0"/>
              <a:lumOff val="0"/>
              <a:alphaOff val="0"/>
            </a:schemeClr>
          </a:fontRef>
        </p:style>
      </p:sp>
      <p:grpSp>
        <p:nvGrpSpPr>
          <p:cNvPr id="29" name="Group 28">
            <a:extLst>
              <a:ext uri="{FF2B5EF4-FFF2-40B4-BE49-F238E27FC236}">
                <a16:creationId xmlns:a16="http://schemas.microsoft.com/office/drawing/2014/main" id="{1A6EA49E-CF38-4C4F-91A9-A89DFC42A4AF}"/>
              </a:ext>
            </a:extLst>
          </p:cNvPr>
          <p:cNvGrpSpPr/>
          <p:nvPr/>
        </p:nvGrpSpPr>
        <p:grpSpPr>
          <a:xfrm>
            <a:off x="6200171" y="1850758"/>
            <a:ext cx="5499947" cy="4124960"/>
            <a:chOff x="6200171" y="1850758"/>
            <a:chExt cx="5499947" cy="4124960"/>
          </a:xfrm>
        </p:grpSpPr>
        <p:pic>
          <p:nvPicPr>
            <p:cNvPr id="70" name="Picture 69">
              <a:extLst>
                <a:ext uri="{FF2B5EF4-FFF2-40B4-BE49-F238E27FC236}">
                  <a16:creationId xmlns:a16="http://schemas.microsoft.com/office/drawing/2014/main" id="{D3E492A3-38C8-4D7E-B746-E69B272E98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00171" y="1850758"/>
              <a:ext cx="5499947" cy="4124960"/>
            </a:xfrm>
            <a:prstGeom prst="rect">
              <a:avLst/>
            </a:prstGeom>
            <a:ln>
              <a:solidFill>
                <a:srgbClr val="FF0000"/>
              </a:solidFill>
            </a:ln>
          </p:spPr>
        </p:pic>
        <p:cxnSp>
          <p:nvCxnSpPr>
            <p:cNvPr id="25" name="Straight Arrow Connector 24">
              <a:extLst>
                <a:ext uri="{FF2B5EF4-FFF2-40B4-BE49-F238E27FC236}">
                  <a16:creationId xmlns:a16="http://schemas.microsoft.com/office/drawing/2014/main" id="{664E6144-FCF5-45FF-922F-F5BEB77E00B5}"/>
                </a:ext>
              </a:extLst>
            </p:cNvPr>
            <p:cNvCxnSpPr>
              <a:cxnSpLocks/>
            </p:cNvCxnSpPr>
            <p:nvPr/>
          </p:nvCxnSpPr>
          <p:spPr>
            <a:xfrm flipV="1">
              <a:off x="11072367" y="4472848"/>
              <a:ext cx="98737" cy="28644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8A8D478B-8E56-43AD-9004-658D1B4C867D}"/>
                </a:ext>
              </a:extLst>
            </p:cNvPr>
            <p:cNvCxnSpPr>
              <a:cxnSpLocks/>
            </p:cNvCxnSpPr>
            <p:nvPr/>
          </p:nvCxnSpPr>
          <p:spPr>
            <a:xfrm flipV="1">
              <a:off x="10814125" y="4415929"/>
              <a:ext cx="98737" cy="28644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612A38A2-2E8F-49C9-BC73-12D8BED985E1}"/>
                </a:ext>
              </a:extLst>
            </p:cNvPr>
            <p:cNvCxnSpPr>
              <a:cxnSpLocks/>
            </p:cNvCxnSpPr>
            <p:nvPr/>
          </p:nvCxnSpPr>
          <p:spPr>
            <a:xfrm flipV="1">
              <a:off x="10573924" y="4366353"/>
              <a:ext cx="98737" cy="28644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3F3F71BB-1CE8-4CCC-9BE3-FB80AD9480DB}"/>
                </a:ext>
              </a:extLst>
            </p:cNvPr>
            <p:cNvCxnSpPr>
              <a:cxnSpLocks/>
            </p:cNvCxnSpPr>
            <p:nvPr/>
          </p:nvCxnSpPr>
          <p:spPr>
            <a:xfrm flipV="1">
              <a:off x="10303527" y="4325958"/>
              <a:ext cx="98737" cy="28644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47771192-D9AA-4140-9BB9-1E72B6DE433D}"/>
                </a:ext>
              </a:extLst>
            </p:cNvPr>
            <p:cNvCxnSpPr>
              <a:cxnSpLocks/>
            </p:cNvCxnSpPr>
            <p:nvPr/>
          </p:nvCxnSpPr>
          <p:spPr>
            <a:xfrm flipV="1">
              <a:off x="9940338" y="4292908"/>
              <a:ext cx="98737" cy="28644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B9C7CBC9-D6BC-40BE-9C4B-0D5A8C541CA2}"/>
              </a:ext>
            </a:extLst>
          </p:cNvPr>
          <p:cNvGrpSpPr/>
          <p:nvPr/>
        </p:nvGrpSpPr>
        <p:grpSpPr>
          <a:xfrm>
            <a:off x="2695784" y="1537392"/>
            <a:ext cx="6832880" cy="5124660"/>
            <a:chOff x="80386" y="0"/>
            <a:chExt cx="6832880" cy="5124660"/>
          </a:xfrm>
        </p:grpSpPr>
        <p:pic>
          <p:nvPicPr>
            <p:cNvPr id="113" name="Picture 112">
              <a:extLst>
                <a:ext uri="{FF2B5EF4-FFF2-40B4-BE49-F238E27FC236}">
                  <a16:creationId xmlns:a16="http://schemas.microsoft.com/office/drawing/2014/main" id="{C9DA2CD5-0B52-4447-BA3B-3183216B0A9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386" y="0"/>
              <a:ext cx="6832880" cy="5124660"/>
            </a:xfrm>
            <a:prstGeom prst="rect">
              <a:avLst/>
            </a:prstGeom>
          </p:spPr>
        </p:pic>
        <p:cxnSp>
          <p:nvCxnSpPr>
            <p:cNvPr id="114" name="Straight Arrow Connector 113">
              <a:extLst>
                <a:ext uri="{FF2B5EF4-FFF2-40B4-BE49-F238E27FC236}">
                  <a16:creationId xmlns:a16="http://schemas.microsoft.com/office/drawing/2014/main" id="{E4F7D34B-6A6D-45A4-A2BC-18FBDE861520}"/>
                </a:ext>
              </a:extLst>
            </p:cNvPr>
            <p:cNvCxnSpPr>
              <a:cxnSpLocks/>
            </p:cNvCxnSpPr>
            <p:nvPr/>
          </p:nvCxnSpPr>
          <p:spPr>
            <a:xfrm flipH="1">
              <a:off x="1329694" y="3315337"/>
              <a:ext cx="36177" cy="657576"/>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430D9F5E-B944-4D08-83D8-4B9FF0CAAA7E}"/>
                </a:ext>
              </a:extLst>
            </p:cNvPr>
            <p:cNvCxnSpPr>
              <a:cxnSpLocks/>
            </p:cNvCxnSpPr>
            <p:nvPr/>
          </p:nvCxnSpPr>
          <p:spPr>
            <a:xfrm flipH="1">
              <a:off x="4593504" y="2753820"/>
              <a:ext cx="60789" cy="541822"/>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97CADF7A-3756-48BD-9D70-006E88E78441}"/>
                </a:ext>
              </a:extLst>
            </p:cNvPr>
            <p:cNvCxnSpPr>
              <a:cxnSpLocks/>
            </p:cNvCxnSpPr>
            <p:nvPr/>
          </p:nvCxnSpPr>
          <p:spPr>
            <a:xfrm flipH="1">
              <a:off x="816439" y="3372319"/>
              <a:ext cx="72352" cy="752094"/>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0D536275-BF14-43F5-8E30-40DA5CAF80EC}"/>
                </a:ext>
              </a:extLst>
            </p:cNvPr>
            <p:cNvCxnSpPr>
              <a:cxnSpLocks/>
            </p:cNvCxnSpPr>
            <p:nvPr/>
          </p:nvCxnSpPr>
          <p:spPr>
            <a:xfrm flipH="1">
              <a:off x="287536" y="3462760"/>
              <a:ext cx="72170" cy="670727"/>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21A99876-C188-4699-B0A8-8CCE90A3BD9A}"/>
                </a:ext>
              </a:extLst>
            </p:cNvPr>
            <p:cNvCxnSpPr>
              <a:cxnSpLocks/>
            </p:cNvCxnSpPr>
            <p:nvPr/>
          </p:nvCxnSpPr>
          <p:spPr>
            <a:xfrm flipH="1">
              <a:off x="5558659" y="2639026"/>
              <a:ext cx="72637" cy="500479"/>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993F22BA-F412-43FB-BA0E-325B82CDBC70}"/>
                </a:ext>
              </a:extLst>
            </p:cNvPr>
            <p:cNvCxnSpPr>
              <a:cxnSpLocks/>
            </p:cNvCxnSpPr>
            <p:nvPr/>
          </p:nvCxnSpPr>
          <p:spPr>
            <a:xfrm flipH="1">
              <a:off x="6131399" y="2562330"/>
              <a:ext cx="64341" cy="484433"/>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78582EF4-B64F-4471-87B2-29544070CD31}"/>
                </a:ext>
              </a:extLst>
            </p:cNvPr>
            <p:cNvCxnSpPr>
              <a:cxnSpLocks/>
            </p:cNvCxnSpPr>
            <p:nvPr/>
          </p:nvCxnSpPr>
          <p:spPr>
            <a:xfrm flipH="1">
              <a:off x="6500843" y="2562330"/>
              <a:ext cx="106571" cy="451402"/>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6E32E713-B08D-477B-8998-6D661B783BB5}"/>
                </a:ext>
              </a:extLst>
            </p:cNvPr>
            <p:cNvCxnSpPr>
              <a:cxnSpLocks/>
            </p:cNvCxnSpPr>
            <p:nvPr/>
          </p:nvCxnSpPr>
          <p:spPr>
            <a:xfrm flipH="1">
              <a:off x="4988200" y="2731543"/>
              <a:ext cx="67125" cy="514772"/>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0481771A-686A-4EE6-B4E4-60523BCCB390}"/>
                </a:ext>
              </a:extLst>
            </p:cNvPr>
            <p:cNvCxnSpPr>
              <a:cxnSpLocks/>
            </p:cNvCxnSpPr>
            <p:nvPr/>
          </p:nvCxnSpPr>
          <p:spPr>
            <a:xfrm flipH="1">
              <a:off x="4082803" y="2811287"/>
              <a:ext cx="56645" cy="561032"/>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BB00F739-DCF5-4756-A480-79B5ADC00DDA}"/>
                </a:ext>
              </a:extLst>
            </p:cNvPr>
            <p:cNvCxnSpPr>
              <a:cxnSpLocks/>
            </p:cNvCxnSpPr>
            <p:nvPr/>
          </p:nvCxnSpPr>
          <p:spPr>
            <a:xfrm flipH="1">
              <a:off x="3546806" y="2898736"/>
              <a:ext cx="27369" cy="586611"/>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251F19B2-4031-4E48-BA09-BA8B0C8E47DC}"/>
                </a:ext>
              </a:extLst>
            </p:cNvPr>
            <p:cNvCxnSpPr>
              <a:cxnSpLocks/>
            </p:cNvCxnSpPr>
            <p:nvPr/>
          </p:nvCxnSpPr>
          <p:spPr>
            <a:xfrm flipH="1">
              <a:off x="3038618" y="2972181"/>
              <a:ext cx="22922" cy="586563"/>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C25C9ADF-3B2C-4F80-9F46-F0D4C0AEC1D0}"/>
                </a:ext>
              </a:extLst>
            </p:cNvPr>
            <p:cNvCxnSpPr>
              <a:cxnSpLocks/>
            </p:cNvCxnSpPr>
            <p:nvPr/>
          </p:nvCxnSpPr>
          <p:spPr>
            <a:xfrm flipH="1">
              <a:off x="2569840" y="3115401"/>
              <a:ext cx="33917" cy="585991"/>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22D2F890-F3EE-4C61-8D5B-D03BB46B1241}"/>
                </a:ext>
              </a:extLst>
            </p:cNvPr>
            <p:cNvCxnSpPr>
              <a:cxnSpLocks/>
            </p:cNvCxnSpPr>
            <p:nvPr/>
          </p:nvCxnSpPr>
          <p:spPr>
            <a:xfrm flipH="1">
              <a:off x="2114276" y="3192041"/>
              <a:ext cx="59642" cy="556325"/>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1E430D2C-3CA6-473B-8453-AFECFAAAA648}"/>
                </a:ext>
              </a:extLst>
            </p:cNvPr>
            <p:cNvCxnSpPr>
              <a:cxnSpLocks/>
            </p:cNvCxnSpPr>
            <p:nvPr/>
          </p:nvCxnSpPr>
          <p:spPr>
            <a:xfrm flipH="1">
              <a:off x="1725421" y="3265462"/>
              <a:ext cx="52878" cy="532661"/>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129" name="Group 128">
            <a:extLst>
              <a:ext uri="{FF2B5EF4-FFF2-40B4-BE49-F238E27FC236}">
                <a16:creationId xmlns:a16="http://schemas.microsoft.com/office/drawing/2014/main" id="{C4A7E01B-1625-4F47-AC0E-769BBFC51174}"/>
              </a:ext>
            </a:extLst>
          </p:cNvPr>
          <p:cNvGrpSpPr/>
          <p:nvPr/>
        </p:nvGrpSpPr>
        <p:grpSpPr>
          <a:xfrm>
            <a:off x="-21481" y="2050256"/>
            <a:ext cx="5952178" cy="3785038"/>
            <a:chOff x="143822" y="917181"/>
            <a:chExt cx="5952178" cy="3785038"/>
          </a:xfrm>
        </p:grpSpPr>
        <p:pic>
          <p:nvPicPr>
            <p:cNvPr id="130" name="Picture 129">
              <a:extLst>
                <a:ext uri="{FF2B5EF4-FFF2-40B4-BE49-F238E27FC236}">
                  <a16:creationId xmlns:a16="http://schemas.microsoft.com/office/drawing/2014/main" id="{8544281A-B6C1-461D-9F73-5197F08DD7B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3822" y="917181"/>
              <a:ext cx="5952178" cy="3785038"/>
            </a:xfrm>
            <a:prstGeom prst="rect">
              <a:avLst/>
            </a:prstGeom>
          </p:spPr>
        </p:pic>
        <p:cxnSp>
          <p:nvCxnSpPr>
            <p:cNvPr id="131" name="Straight Arrow Connector 130">
              <a:extLst>
                <a:ext uri="{FF2B5EF4-FFF2-40B4-BE49-F238E27FC236}">
                  <a16:creationId xmlns:a16="http://schemas.microsoft.com/office/drawing/2014/main" id="{2B543927-8CB9-4E17-8D95-DE92006C6373}"/>
                </a:ext>
              </a:extLst>
            </p:cNvPr>
            <p:cNvCxnSpPr>
              <a:cxnSpLocks/>
            </p:cNvCxnSpPr>
            <p:nvPr/>
          </p:nvCxnSpPr>
          <p:spPr>
            <a:xfrm>
              <a:off x="1830233" y="2162935"/>
              <a:ext cx="639698" cy="1089362"/>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7CF3202A-998B-4D1E-8C89-DB3717FDB29B}"/>
                </a:ext>
              </a:extLst>
            </p:cNvPr>
            <p:cNvSpPr txBox="1"/>
            <p:nvPr/>
          </p:nvSpPr>
          <p:spPr>
            <a:xfrm>
              <a:off x="226264" y="1895928"/>
              <a:ext cx="3636872" cy="369332"/>
            </a:xfrm>
            <a:prstGeom prst="rect">
              <a:avLst/>
            </a:prstGeom>
            <a:noFill/>
          </p:spPr>
          <p:txBody>
            <a:bodyPr wrap="square" rtlCol="0">
              <a:spAutoFit/>
            </a:bodyPr>
            <a:lstStyle/>
            <a:p>
              <a:r>
                <a:rPr lang="fr-FR" b="1" dirty="0">
                  <a:solidFill>
                    <a:schemeClr val="bg1"/>
                  </a:solidFill>
                  <a:latin typeface="Times New Roman" panose="02020603050405020304" pitchFamily="18" charset="0"/>
                  <a:cs typeface="Times New Roman" panose="02020603050405020304" pitchFamily="18" charset="0"/>
                </a:rPr>
                <a:t>ROMAINE BARRE DE TOIT</a:t>
              </a:r>
            </a:p>
          </p:txBody>
        </p:sp>
      </p:grpSp>
      <p:grpSp>
        <p:nvGrpSpPr>
          <p:cNvPr id="133" name="Group 132">
            <a:extLst>
              <a:ext uri="{FF2B5EF4-FFF2-40B4-BE49-F238E27FC236}">
                <a16:creationId xmlns:a16="http://schemas.microsoft.com/office/drawing/2014/main" id="{0FE07C7C-5F0E-496E-8D0A-200A1D4B4ED7}"/>
              </a:ext>
            </a:extLst>
          </p:cNvPr>
          <p:cNvGrpSpPr/>
          <p:nvPr/>
        </p:nvGrpSpPr>
        <p:grpSpPr>
          <a:xfrm>
            <a:off x="5930698" y="2715758"/>
            <a:ext cx="4285586" cy="2604850"/>
            <a:chOff x="6084871" y="1867378"/>
            <a:chExt cx="3635329" cy="1753420"/>
          </a:xfrm>
        </p:grpSpPr>
        <p:sp>
          <p:nvSpPr>
            <p:cNvPr id="134" name="Arrow: Right 133">
              <a:extLst>
                <a:ext uri="{FF2B5EF4-FFF2-40B4-BE49-F238E27FC236}">
                  <a16:creationId xmlns:a16="http://schemas.microsoft.com/office/drawing/2014/main" id="{05CD1AA8-75EC-4D67-AA00-7F1B960DB54C}"/>
                </a:ext>
              </a:extLst>
            </p:cNvPr>
            <p:cNvSpPr/>
            <p:nvPr/>
          </p:nvSpPr>
          <p:spPr>
            <a:xfrm>
              <a:off x="6084871" y="2638097"/>
              <a:ext cx="315930" cy="36786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0000"/>
                </a:solidFill>
              </a:endParaRPr>
            </a:p>
          </p:txBody>
        </p:sp>
        <p:grpSp>
          <p:nvGrpSpPr>
            <p:cNvPr id="135" name="Group 134">
              <a:extLst>
                <a:ext uri="{FF2B5EF4-FFF2-40B4-BE49-F238E27FC236}">
                  <a16:creationId xmlns:a16="http://schemas.microsoft.com/office/drawing/2014/main" id="{92394D5E-2570-4CDB-9528-E8018C2F3463}"/>
                </a:ext>
              </a:extLst>
            </p:cNvPr>
            <p:cNvGrpSpPr/>
            <p:nvPr/>
          </p:nvGrpSpPr>
          <p:grpSpPr>
            <a:xfrm>
              <a:off x="6415128" y="1867378"/>
              <a:ext cx="3305072" cy="1753420"/>
              <a:chOff x="0" y="0"/>
              <a:chExt cx="7466667" cy="4257143"/>
            </a:xfrm>
          </p:grpSpPr>
          <p:pic>
            <p:nvPicPr>
              <p:cNvPr id="136" name="Picture 135">
                <a:extLst>
                  <a:ext uri="{FF2B5EF4-FFF2-40B4-BE49-F238E27FC236}">
                    <a16:creationId xmlns:a16="http://schemas.microsoft.com/office/drawing/2014/main" id="{34AC3610-C130-4A08-BC33-70E215D7FED4}"/>
                  </a:ext>
                </a:extLst>
              </p:cNvPr>
              <p:cNvPicPr>
                <a:picLocks noChangeAspect="1"/>
              </p:cNvPicPr>
              <p:nvPr/>
            </p:nvPicPr>
            <p:blipFill>
              <a:blip r:embed="rId9"/>
              <a:stretch>
                <a:fillRect/>
              </a:stretch>
            </p:blipFill>
            <p:spPr>
              <a:xfrm>
                <a:off x="0" y="0"/>
                <a:ext cx="7466667" cy="4257143"/>
              </a:xfrm>
              <a:prstGeom prst="rect">
                <a:avLst/>
              </a:prstGeom>
            </p:spPr>
          </p:pic>
          <p:cxnSp>
            <p:nvCxnSpPr>
              <p:cNvPr id="137" name="Connecteur droit avec flèche 33">
                <a:extLst>
                  <a:ext uri="{FF2B5EF4-FFF2-40B4-BE49-F238E27FC236}">
                    <a16:creationId xmlns:a16="http://schemas.microsoft.com/office/drawing/2014/main" id="{ACB9A156-C085-4EA5-8DED-C4989147F944}"/>
                  </a:ext>
                </a:extLst>
              </p:cNvPr>
              <p:cNvCxnSpPr/>
              <p:nvPr/>
            </p:nvCxnSpPr>
            <p:spPr bwMode="auto">
              <a:xfrm flipV="1">
                <a:off x="3792844" y="2796220"/>
                <a:ext cx="4297" cy="664074"/>
              </a:xfrm>
              <a:prstGeom prst="straightConnector1">
                <a:avLst/>
              </a:prstGeom>
              <a:solidFill>
                <a:srgbClr val="FFFFFF"/>
              </a:solidFill>
              <a:ln w="38100" cap="flat" cmpd="sng" algn="ctr">
                <a:solidFill>
                  <a:srgbClr val="FF0000"/>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spTree>
    <p:extLst>
      <p:ext uri="{BB962C8B-B14F-4D97-AF65-F5344CB8AC3E}">
        <p14:creationId xmlns:p14="http://schemas.microsoft.com/office/powerpoint/2010/main" val="4221366523"/>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44"/>
                                        </p:tgtEl>
                                      </p:cBhvr>
                                    </p:animEffect>
                                    <p:animScale>
                                      <p:cBhvr>
                                        <p:cTn id="7" dur="250" autoRev="1" fill="hold"/>
                                        <p:tgtEl>
                                          <p:spTgt spid="44"/>
                                        </p:tgtEl>
                                      </p:cBhvr>
                                      <p:by x="105000" y="105000"/>
                                    </p:animScale>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fade">
                                      <p:cBhvr>
                                        <p:cTn id="11" dur="500"/>
                                        <p:tgtEl>
                                          <p:spTgt spid="46"/>
                                        </p:tgtEl>
                                      </p:cBhvr>
                                    </p:animEffect>
                                  </p:childTnLst>
                                </p:cTn>
                              </p:par>
                            </p:childTnLst>
                          </p:cTn>
                        </p:par>
                        <p:par>
                          <p:cTn id="12" fill="hold">
                            <p:stCondLst>
                              <p:cond delay="1000"/>
                            </p:stCondLst>
                            <p:childTnLst>
                              <p:par>
                                <p:cTn id="13" presetID="32" presetClass="emph" presetSubtype="0" fill="hold" nodeType="afterEffect">
                                  <p:stCondLst>
                                    <p:cond delay="0"/>
                                  </p:stCondLst>
                                  <p:childTnLst>
                                    <p:animRot by="120000">
                                      <p:cBhvr>
                                        <p:cTn id="14" dur="100" fill="hold">
                                          <p:stCondLst>
                                            <p:cond delay="0"/>
                                          </p:stCondLst>
                                        </p:cTn>
                                        <p:tgtEl>
                                          <p:spTgt spid="46"/>
                                        </p:tgtEl>
                                        <p:attrNameLst>
                                          <p:attrName>r</p:attrName>
                                        </p:attrNameLst>
                                      </p:cBhvr>
                                    </p:animRot>
                                    <p:animRot by="-240000">
                                      <p:cBhvr>
                                        <p:cTn id="15" dur="200" fill="hold">
                                          <p:stCondLst>
                                            <p:cond delay="200"/>
                                          </p:stCondLst>
                                        </p:cTn>
                                        <p:tgtEl>
                                          <p:spTgt spid="46"/>
                                        </p:tgtEl>
                                        <p:attrNameLst>
                                          <p:attrName>r</p:attrName>
                                        </p:attrNameLst>
                                      </p:cBhvr>
                                    </p:animRot>
                                    <p:animRot by="240000">
                                      <p:cBhvr>
                                        <p:cTn id="16" dur="200" fill="hold">
                                          <p:stCondLst>
                                            <p:cond delay="400"/>
                                          </p:stCondLst>
                                        </p:cTn>
                                        <p:tgtEl>
                                          <p:spTgt spid="46"/>
                                        </p:tgtEl>
                                        <p:attrNameLst>
                                          <p:attrName>r</p:attrName>
                                        </p:attrNameLst>
                                      </p:cBhvr>
                                    </p:animRot>
                                    <p:animRot by="-240000">
                                      <p:cBhvr>
                                        <p:cTn id="17" dur="200" fill="hold">
                                          <p:stCondLst>
                                            <p:cond delay="600"/>
                                          </p:stCondLst>
                                        </p:cTn>
                                        <p:tgtEl>
                                          <p:spTgt spid="46"/>
                                        </p:tgtEl>
                                        <p:attrNameLst>
                                          <p:attrName>r</p:attrName>
                                        </p:attrNameLst>
                                      </p:cBhvr>
                                    </p:animRot>
                                    <p:animRot by="120000">
                                      <p:cBhvr>
                                        <p:cTn id="18" dur="200" fill="hold">
                                          <p:stCondLst>
                                            <p:cond delay="800"/>
                                          </p:stCondLst>
                                        </p:cTn>
                                        <p:tgtEl>
                                          <p:spTgt spid="46"/>
                                        </p:tgtEl>
                                        <p:attrNameLst>
                                          <p:attrName>r</p:attrName>
                                        </p:attrNameLst>
                                      </p:cBhvr>
                                    </p:animRot>
                                  </p:childTnLst>
                                </p:cTn>
                              </p:par>
                            </p:childTnLst>
                          </p:cTn>
                        </p:par>
                        <p:par>
                          <p:cTn id="19" fill="hold">
                            <p:stCondLst>
                              <p:cond delay="2000"/>
                            </p:stCondLst>
                            <p:childTnLst>
                              <p:par>
                                <p:cTn id="20" presetID="10" presetClass="entr" presetSubtype="0" fill="hold" nodeType="after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par>
                          <p:cTn id="23" fill="hold">
                            <p:stCondLst>
                              <p:cond delay="2500"/>
                            </p:stCondLst>
                            <p:childTnLst>
                              <p:par>
                                <p:cTn id="24" presetID="10" presetClass="entr" presetSubtype="0" fill="hold" nodeType="afterEffect">
                                  <p:stCondLst>
                                    <p:cond delay="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500"/>
                                        <p:tgtEl>
                                          <p:spTgt spid="52"/>
                                        </p:tgtEl>
                                      </p:cBhvr>
                                    </p:animEffect>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500" fill="hold"/>
                                        <p:tgtEl>
                                          <p:spTgt spid="19"/>
                                        </p:tgtEl>
                                        <p:attrNameLst>
                                          <p:attrName>ppt_x</p:attrName>
                                        </p:attrNameLst>
                                      </p:cBhvr>
                                      <p:tavLst>
                                        <p:tav tm="0">
                                          <p:val>
                                            <p:strVal val="0-#ppt_w/2"/>
                                          </p:val>
                                        </p:tav>
                                        <p:tav tm="100000">
                                          <p:val>
                                            <p:strVal val="#ppt_x"/>
                                          </p:val>
                                        </p:tav>
                                      </p:tavLst>
                                    </p:anim>
                                    <p:anim calcmode="lin" valueType="num">
                                      <p:cBhvr additive="base">
                                        <p:cTn id="32"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37" presetClass="exit" presetSubtype="0" fill="hold" nodeType="clickEffect">
                                  <p:stCondLst>
                                    <p:cond delay="0"/>
                                  </p:stCondLst>
                                  <p:childTnLst>
                                    <p:animEffect transition="out" filter="fade">
                                      <p:cBhvr>
                                        <p:cTn id="36" dur="1000"/>
                                        <p:tgtEl>
                                          <p:spTgt spid="19"/>
                                        </p:tgtEl>
                                      </p:cBhvr>
                                    </p:animEffect>
                                    <p:anim calcmode="lin" valueType="num">
                                      <p:cBhvr>
                                        <p:cTn id="37" dur="1000"/>
                                        <p:tgtEl>
                                          <p:spTgt spid="19"/>
                                        </p:tgtEl>
                                        <p:attrNameLst>
                                          <p:attrName>ppt_x</p:attrName>
                                        </p:attrNameLst>
                                      </p:cBhvr>
                                      <p:tavLst>
                                        <p:tav tm="0">
                                          <p:val>
                                            <p:strVal val="ppt_x"/>
                                          </p:val>
                                        </p:tav>
                                        <p:tav tm="100000">
                                          <p:val>
                                            <p:strVal val="ppt_x"/>
                                          </p:val>
                                        </p:tav>
                                      </p:tavLst>
                                    </p:anim>
                                    <p:anim calcmode="lin" valueType="num">
                                      <p:cBhvr>
                                        <p:cTn id="38" dur="100" decel="100000"/>
                                        <p:tgtEl>
                                          <p:spTgt spid="19"/>
                                        </p:tgtEl>
                                        <p:attrNameLst>
                                          <p:attrName>ppt_y</p:attrName>
                                        </p:attrNameLst>
                                      </p:cBhvr>
                                      <p:tavLst>
                                        <p:tav tm="0">
                                          <p:val>
                                            <p:strVal val="ppt_y"/>
                                          </p:val>
                                        </p:tav>
                                        <p:tav tm="100000">
                                          <p:val>
                                            <p:strVal val="ppt_y-.03"/>
                                          </p:val>
                                        </p:tav>
                                      </p:tavLst>
                                    </p:anim>
                                    <p:anim calcmode="lin" valueType="num">
                                      <p:cBhvr>
                                        <p:cTn id="39" dur="900" accel="100000">
                                          <p:stCondLst>
                                            <p:cond delay="100"/>
                                          </p:stCondLst>
                                        </p:cTn>
                                        <p:tgtEl>
                                          <p:spTgt spid="19"/>
                                        </p:tgtEl>
                                        <p:attrNameLst>
                                          <p:attrName>ppt_y</p:attrName>
                                        </p:attrNameLst>
                                      </p:cBhvr>
                                      <p:tavLst>
                                        <p:tav tm="0">
                                          <p:val>
                                            <p:strVal val="ppt_y"/>
                                          </p:val>
                                        </p:tav>
                                        <p:tav tm="100000">
                                          <p:val>
                                            <p:strVal val="ppt_y+1"/>
                                          </p:val>
                                        </p:tav>
                                      </p:tavLst>
                                    </p:anim>
                                    <p:set>
                                      <p:cBhvr>
                                        <p:cTn id="40" dur="1" fill="hold">
                                          <p:stCondLst>
                                            <p:cond delay="999"/>
                                          </p:stCondLst>
                                        </p:cTn>
                                        <p:tgtEl>
                                          <p:spTgt spid="19"/>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nodeType="clickEffect">
                                  <p:stCondLst>
                                    <p:cond delay="0"/>
                                  </p:stCondLst>
                                  <p:childTnLst>
                                    <p:set>
                                      <p:cBhvr>
                                        <p:cTn id="44" dur="1" fill="hold">
                                          <p:stCondLst>
                                            <p:cond delay="0"/>
                                          </p:stCondLst>
                                        </p:cTn>
                                        <p:tgtEl>
                                          <p:spTgt spid="69"/>
                                        </p:tgtEl>
                                        <p:attrNameLst>
                                          <p:attrName>style.visibility</p:attrName>
                                        </p:attrNameLst>
                                      </p:cBhvr>
                                      <p:to>
                                        <p:strVal val="visible"/>
                                      </p:to>
                                    </p:set>
                                    <p:anim calcmode="lin" valueType="num">
                                      <p:cBhvr additive="base">
                                        <p:cTn id="45" dur="500" fill="hold"/>
                                        <p:tgtEl>
                                          <p:spTgt spid="69"/>
                                        </p:tgtEl>
                                        <p:attrNameLst>
                                          <p:attrName>ppt_x</p:attrName>
                                        </p:attrNameLst>
                                      </p:cBhvr>
                                      <p:tavLst>
                                        <p:tav tm="0">
                                          <p:val>
                                            <p:strVal val="#ppt_x"/>
                                          </p:val>
                                        </p:tav>
                                        <p:tav tm="100000">
                                          <p:val>
                                            <p:strVal val="#ppt_x"/>
                                          </p:val>
                                        </p:tav>
                                      </p:tavLst>
                                    </p:anim>
                                    <p:anim calcmode="lin" valueType="num">
                                      <p:cBhvr additive="base">
                                        <p:cTn id="46"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53" presetClass="entr" presetSubtype="16" fill="hold" nodeType="clickEffect">
                                  <p:stCondLst>
                                    <p:cond delay="0"/>
                                  </p:stCondLst>
                                  <p:childTnLst>
                                    <p:set>
                                      <p:cBhvr>
                                        <p:cTn id="50" dur="1" fill="hold">
                                          <p:stCondLst>
                                            <p:cond delay="0"/>
                                          </p:stCondLst>
                                        </p:cTn>
                                        <p:tgtEl>
                                          <p:spTgt spid="21"/>
                                        </p:tgtEl>
                                        <p:attrNameLst>
                                          <p:attrName>style.visibility</p:attrName>
                                        </p:attrNameLst>
                                      </p:cBhvr>
                                      <p:to>
                                        <p:strVal val="visible"/>
                                      </p:to>
                                    </p:set>
                                    <p:anim calcmode="lin" valueType="num">
                                      <p:cBhvr>
                                        <p:cTn id="51" dur="500" fill="hold"/>
                                        <p:tgtEl>
                                          <p:spTgt spid="21"/>
                                        </p:tgtEl>
                                        <p:attrNameLst>
                                          <p:attrName>ppt_w</p:attrName>
                                        </p:attrNameLst>
                                      </p:cBhvr>
                                      <p:tavLst>
                                        <p:tav tm="0">
                                          <p:val>
                                            <p:fltVal val="0"/>
                                          </p:val>
                                        </p:tav>
                                        <p:tav tm="100000">
                                          <p:val>
                                            <p:strVal val="#ppt_w"/>
                                          </p:val>
                                        </p:tav>
                                      </p:tavLst>
                                    </p:anim>
                                    <p:anim calcmode="lin" valueType="num">
                                      <p:cBhvr>
                                        <p:cTn id="52" dur="500" fill="hold"/>
                                        <p:tgtEl>
                                          <p:spTgt spid="21"/>
                                        </p:tgtEl>
                                        <p:attrNameLst>
                                          <p:attrName>ppt_h</p:attrName>
                                        </p:attrNameLst>
                                      </p:cBhvr>
                                      <p:tavLst>
                                        <p:tav tm="0">
                                          <p:val>
                                            <p:fltVal val="0"/>
                                          </p:val>
                                        </p:tav>
                                        <p:tav tm="100000">
                                          <p:val>
                                            <p:strVal val="#ppt_h"/>
                                          </p:val>
                                        </p:tav>
                                      </p:tavLst>
                                    </p:anim>
                                    <p:animEffect transition="in" filter="fade">
                                      <p:cBhvr>
                                        <p:cTn id="53" dur="500"/>
                                        <p:tgtEl>
                                          <p:spTgt spid="21"/>
                                        </p:tgtEl>
                                      </p:cBhvr>
                                    </p:animEffect>
                                  </p:childTnLst>
                                </p:cTn>
                              </p:par>
                            </p:childTnLst>
                          </p:cTn>
                        </p:par>
                      </p:childTnLst>
                    </p:cTn>
                  </p:par>
                  <p:par>
                    <p:cTn id="54" fill="hold">
                      <p:stCondLst>
                        <p:cond delay="indefinite"/>
                      </p:stCondLst>
                      <p:childTnLst>
                        <p:par>
                          <p:cTn id="55" fill="hold">
                            <p:stCondLst>
                              <p:cond delay="0"/>
                            </p:stCondLst>
                            <p:childTnLst>
                              <p:par>
                                <p:cTn id="56" presetID="2" presetClass="entr" presetSubtype="8" fill="hold" nodeType="clickEffect">
                                  <p:stCondLst>
                                    <p:cond delay="0"/>
                                  </p:stCondLst>
                                  <p:childTnLst>
                                    <p:set>
                                      <p:cBhvr>
                                        <p:cTn id="57" dur="1" fill="hold">
                                          <p:stCondLst>
                                            <p:cond delay="0"/>
                                          </p:stCondLst>
                                        </p:cTn>
                                        <p:tgtEl>
                                          <p:spTgt spid="74"/>
                                        </p:tgtEl>
                                        <p:attrNameLst>
                                          <p:attrName>style.visibility</p:attrName>
                                        </p:attrNameLst>
                                      </p:cBhvr>
                                      <p:to>
                                        <p:strVal val="visible"/>
                                      </p:to>
                                    </p:set>
                                    <p:anim calcmode="lin" valueType="num">
                                      <p:cBhvr additive="base">
                                        <p:cTn id="58" dur="500" fill="hold"/>
                                        <p:tgtEl>
                                          <p:spTgt spid="74"/>
                                        </p:tgtEl>
                                        <p:attrNameLst>
                                          <p:attrName>ppt_x</p:attrName>
                                        </p:attrNameLst>
                                      </p:cBhvr>
                                      <p:tavLst>
                                        <p:tav tm="0">
                                          <p:val>
                                            <p:strVal val="0-#ppt_w/2"/>
                                          </p:val>
                                        </p:tav>
                                        <p:tav tm="100000">
                                          <p:val>
                                            <p:strVal val="#ppt_x"/>
                                          </p:val>
                                        </p:tav>
                                      </p:tavLst>
                                    </p:anim>
                                    <p:anim calcmode="lin" valueType="num">
                                      <p:cBhvr additive="base">
                                        <p:cTn id="59" dur="500" fill="hold"/>
                                        <p:tgtEl>
                                          <p:spTgt spid="74"/>
                                        </p:tgtEl>
                                        <p:attrNameLst>
                                          <p:attrName>ppt_y</p:attrName>
                                        </p:attrNameLst>
                                      </p:cBhvr>
                                      <p:tavLst>
                                        <p:tav tm="0">
                                          <p:val>
                                            <p:strVal val="#ppt_y"/>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2" presetClass="entr" presetSubtype="8" fill="hold" nodeType="clickEffect">
                                  <p:stCondLst>
                                    <p:cond delay="0"/>
                                  </p:stCondLst>
                                  <p:childTnLst>
                                    <p:set>
                                      <p:cBhvr>
                                        <p:cTn id="63" dur="1" fill="hold">
                                          <p:stCondLst>
                                            <p:cond delay="0"/>
                                          </p:stCondLst>
                                        </p:cTn>
                                        <p:tgtEl>
                                          <p:spTgt spid="29"/>
                                        </p:tgtEl>
                                        <p:attrNameLst>
                                          <p:attrName>style.visibility</p:attrName>
                                        </p:attrNameLst>
                                      </p:cBhvr>
                                      <p:to>
                                        <p:strVal val="visible"/>
                                      </p:to>
                                    </p:set>
                                    <p:anim calcmode="lin" valueType="num">
                                      <p:cBhvr additive="base">
                                        <p:cTn id="64" dur="500" fill="hold"/>
                                        <p:tgtEl>
                                          <p:spTgt spid="29"/>
                                        </p:tgtEl>
                                        <p:attrNameLst>
                                          <p:attrName>ppt_x</p:attrName>
                                        </p:attrNameLst>
                                      </p:cBhvr>
                                      <p:tavLst>
                                        <p:tav tm="0">
                                          <p:val>
                                            <p:strVal val="0-#ppt_w/2"/>
                                          </p:val>
                                        </p:tav>
                                        <p:tav tm="100000">
                                          <p:val>
                                            <p:strVal val="#ppt_x"/>
                                          </p:val>
                                        </p:tav>
                                      </p:tavLst>
                                    </p:anim>
                                    <p:anim calcmode="lin" valueType="num">
                                      <p:cBhvr additive="base">
                                        <p:cTn id="65" dur="500" fill="hold"/>
                                        <p:tgtEl>
                                          <p:spTgt spid="29"/>
                                        </p:tgtEl>
                                        <p:attrNameLst>
                                          <p:attrName>ppt_y</p:attrName>
                                        </p:attrNameLst>
                                      </p:cBhvr>
                                      <p:tavLst>
                                        <p:tav tm="0">
                                          <p:val>
                                            <p:strVal val="#ppt_y"/>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nodeType="clickEffect">
                                  <p:stCondLst>
                                    <p:cond delay="0"/>
                                  </p:stCondLst>
                                  <p:childTnLst>
                                    <p:animEffect transition="out" filter="fade">
                                      <p:cBhvr>
                                        <p:cTn id="69" dur="500"/>
                                        <p:tgtEl>
                                          <p:spTgt spid="69"/>
                                        </p:tgtEl>
                                      </p:cBhvr>
                                    </p:animEffect>
                                    <p:set>
                                      <p:cBhvr>
                                        <p:cTn id="70" dur="1" fill="hold">
                                          <p:stCondLst>
                                            <p:cond delay="499"/>
                                          </p:stCondLst>
                                        </p:cTn>
                                        <p:tgtEl>
                                          <p:spTgt spid="69"/>
                                        </p:tgtEl>
                                        <p:attrNameLst>
                                          <p:attrName>style.visibility</p:attrName>
                                        </p:attrNameLst>
                                      </p:cBhvr>
                                      <p:to>
                                        <p:strVal val="hidden"/>
                                      </p:to>
                                    </p:set>
                                  </p:childTnLst>
                                </p:cTn>
                              </p:par>
                              <p:par>
                                <p:cTn id="71" presetID="22" presetClass="exit" presetSubtype="4" fill="hold" nodeType="withEffect">
                                  <p:stCondLst>
                                    <p:cond delay="0"/>
                                  </p:stCondLst>
                                  <p:childTnLst>
                                    <p:animEffect transition="out" filter="wipe(down)">
                                      <p:cBhvr>
                                        <p:cTn id="72" dur="500"/>
                                        <p:tgtEl>
                                          <p:spTgt spid="21"/>
                                        </p:tgtEl>
                                      </p:cBhvr>
                                    </p:animEffect>
                                    <p:set>
                                      <p:cBhvr>
                                        <p:cTn id="73" dur="1" fill="hold">
                                          <p:stCondLst>
                                            <p:cond delay="499"/>
                                          </p:stCondLst>
                                        </p:cTn>
                                        <p:tgtEl>
                                          <p:spTgt spid="21"/>
                                        </p:tgtEl>
                                        <p:attrNameLst>
                                          <p:attrName>style.visibility</p:attrName>
                                        </p:attrNameLst>
                                      </p:cBhvr>
                                      <p:to>
                                        <p:strVal val="hidden"/>
                                      </p:to>
                                    </p:set>
                                  </p:childTnLst>
                                </p:cTn>
                              </p:par>
                              <p:par>
                                <p:cTn id="74" presetID="10" presetClass="exit" presetSubtype="0" fill="hold" nodeType="withEffect">
                                  <p:stCondLst>
                                    <p:cond delay="0"/>
                                  </p:stCondLst>
                                  <p:childTnLst>
                                    <p:animEffect transition="out" filter="fade">
                                      <p:cBhvr>
                                        <p:cTn id="75" dur="500"/>
                                        <p:tgtEl>
                                          <p:spTgt spid="74"/>
                                        </p:tgtEl>
                                      </p:cBhvr>
                                    </p:animEffect>
                                    <p:set>
                                      <p:cBhvr>
                                        <p:cTn id="76" dur="1" fill="hold">
                                          <p:stCondLst>
                                            <p:cond delay="499"/>
                                          </p:stCondLst>
                                        </p:cTn>
                                        <p:tgtEl>
                                          <p:spTgt spid="74"/>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500"/>
                                        <p:tgtEl>
                                          <p:spTgt spid="29"/>
                                        </p:tgtEl>
                                      </p:cBhvr>
                                    </p:animEffect>
                                    <p:set>
                                      <p:cBhvr>
                                        <p:cTn id="79" dur="1" fill="hold">
                                          <p:stCondLst>
                                            <p:cond delay="499"/>
                                          </p:stCondLst>
                                        </p:cTn>
                                        <p:tgtEl>
                                          <p:spTgt spid="29"/>
                                        </p:tgtEl>
                                        <p:attrNameLst>
                                          <p:attrName>style.visibility</p:attrName>
                                        </p:attrNameLst>
                                      </p:cBhvr>
                                      <p:to>
                                        <p:strVal val="hidden"/>
                                      </p:to>
                                    </p:set>
                                  </p:childTnLst>
                                </p:cTn>
                              </p:par>
                            </p:childTnLst>
                          </p:cTn>
                        </p:par>
                      </p:childTnLst>
                    </p:cTn>
                  </p:par>
                  <p:par>
                    <p:cTn id="80" fill="hold">
                      <p:stCondLst>
                        <p:cond delay="indefinite"/>
                      </p:stCondLst>
                      <p:childTnLst>
                        <p:par>
                          <p:cTn id="81" fill="hold">
                            <p:stCondLst>
                              <p:cond delay="0"/>
                            </p:stCondLst>
                            <p:childTnLst>
                              <p:par>
                                <p:cTn id="82" presetID="53" presetClass="entr" presetSubtype="16" fill="hold" nodeType="clickEffect">
                                  <p:stCondLst>
                                    <p:cond delay="0"/>
                                  </p:stCondLst>
                                  <p:childTnLst>
                                    <p:set>
                                      <p:cBhvr>
                                        <p:cTn id="83" dur="1" fill="hold">
                                          <p:stCondLst>
                                            <p:cond delay="0"/>
                                          </p:stCondLst>
                                        </p:cTn>
                                        <p:tgtEl>
                                          <p:spTgt spid="112"/>
                                        </p:tgtEl>
                                        <p:attrNameLst>
                                          <p:attrName>style.visibility</p:attrName>
                                        </p:attrNameLst>
                                      </p:cBhvr>
                                      <p:to>
                                        <p:strVal val="visible"/>
                                      </p:to>
                                    </p:set>
                                    <p:anim calcmode="lin" valueType="num">
                                      <p:cBhvr>
                                        <p:cTn id="84" dur="500" fill="hold"/>
                                        <p:tgtEl>
                                          <p:spTgt spid="112"/>
                                        </p:tgtEl>
                                        <p:attrNameLst>
                                          <p:attrName>ppt_w</p:attrName>
                                        </p:attrNameLst>
                                      </p:cBhvr>
                                      <p:tavLst>
                                        <p:tav tm="0">
                                          <p:val>
                                            <p:fltVal val="0"/>
                                          </p:val>
                                        </p:tav>
                                        <p:tav tm="100000">
                                          <p:val>
                                            <p:strVal val="#ppt_w"/>
                                          </p:val>
                                        </p:tav>
                                      </p:tavLst>
                                    </p:anim>
                                    <p:anim calcmode="lin" valueType="num">
                                      <p:cBhvr>
                                        <p:cTn id="85" dur="500" fill="hold"/>
                                        <p:tgtEl>
                                          <p:spTgt spid="112"/>
                                        </p:tgtEl>
                                        <p:attrNameLst>
                                          <p:attrName>ppt_h</p:attrName>
                                        </p:attrNameLst>
                                      </p:cBhvr>
                                      <p:tavLst>
                                        <p:tav tm="0">
                                          <p:val>
                                            <p:fltVal val="0"/>
                                          </p:val>
                                        </p:tav>
                                        <p:tav tm="100000">
                                          <p:val>
                                            <p:strVal val="#ppt_h"/>
                                          </p:val>
                                        </p:tav>
                                      </p:tavLst>
                                    </p:anim>
                                    <p:animEffect transition="in" filter="fade">
                                      <p:cBhvr>
                                        <p:cTn id="86" dur="500"/>
                                        <p:tgtEl>
                                          <p:spTgt spid="112"/>
                                        </p:tgtEl>
                                      </p:cBhvr>
                                    </p:animEffect>
                                  </p:childTnLst>
                                </p:cTn>
                              </p:par>
                            </p:childTnLst>
                          </p:cTn>
                        </p:par>
                      </p:childTnLst>
                    </p:cTn>
                  </p:par>
                  <p:par>
                    <p:cTn id="87" fill="hold">
                      <p:stCondLst>
                        <p:cond delay="indefinite"/>
                      </p:stCondLst>
                      <p:childTnLst>
                        <p:par>
                          <p:cTn id="88" fill="hold">
                            <p:stCondLst>
                              <p:cond delay="0"/>
                            </p:stCondLst>
                            <p:childTnLst>
                              <p:par>
                                <p:cTn id="89" presetID="53" presetClass="exit" presetSubtype="32" fill="hold" nodeType="clickEffect">
                                  <p:stCondLst>
                                    <p:cond delay="0"/>
                                  </p:stCondLst>
                                  <p:childTnLst>
                                    <p:anim calcmode="lin" valueType="num">
                                      <p:cBhvr>
                                        <p:cTn id="90" dur="500"/>
                                        <p:tgtEl>
                                          <p:spTgt spid="112"/>
                                        </p:tgtEl>
                                        <p:attrNameLst>
                                          <p:attrName>ppt_w</p:attrName>
                                        </p:attrNameLst>
                                      </p:cBhvr>
                                      <p:tavLst>
                                        <p:tav tm="0">
                                          <p:val>
                                            <p:strVal val="ppt_w"/>
                                          </p:val>
                                        </p:tav>
                                        <p:tav tm="100000">
                                          <p:val>
                                            <p:fltVal val="0"/>
                                          </p:val>
                                        </p:tav>
                                      </p:tavLst>
                                    </p:anim>
                                    <p:anim calcmode="lin" valueType="num">
                                      <p:cBhvr>
                                        <p:cTn id="91" dur="500"/>
                                        <p:tgtEl>
                                          <p:spTgt spid="112"/>
                                        </p:tgtEl>
                                        <p:attrNameLst>
                                          <p:attrName>ppt_h</p:attrName>
                                        </p:attrNameLst>
                                      </p:cBhvr>
                                      <p:tavLst>
                                        <p:tav tm="0">
                                          <p:val>
                                            <p:strVal val="ppt_h"/>
                                          </p:val>
                                        </p:tav>
                                        <p:tav tm="100000">
                                          <p:val>
                                            <p:fltVal val="0"/>
                                          </p:val>
                                        </p:tav>
                                      </p:tavLst>
                                    </p:anim>
                                    <p:animEffect transition="out" filter="fade">
                                      <p:cBhvr>
                                        <p:cTn id="92" dur="500"/>
                                        <p:tgtEl>
                                          <p:spTgt spid="112"/>
                                        </p:tgtEl>
                                      </p:cBhvr>
                                    </p:animEffect>
                                    <p:set>
                                      <p:cBhvr>
                                        <p:cTn id="93" dur="1" fill="hold">
                                          <p:stCondLst>
                                            <p:cond delay="499"/>
                                          </p:stCondLst>
                                        </p:cTn>
                                        <p:tgtEl>
                                          <p:spTgt spid="112"/>
                                        </p:tgtEl>
                                        <p:attrNameLst>
                                          <p:attrName>style.visibility</p:attrName>
                                        </p:attrNameLst>
                                      </p:cBhvr>
                                      <p:to>
                                        <p:strVal val="hidden"/>
                                      </p:to>
                                    </p:set>
                                  </p:childTnLst>
                                </p:cTn>
                              </p:par>
                            </p:childTnLst>
                          </p:cTn>
                        </p:par>
                      </p:childTnLst>
                    </p:cTn>
                  </p:par>
                  <p:par>
                    <p:cTn id="94" fill="hold">
                      <p:stCondLst>
                        <p:cond delay="indefinite"/>
                      </p:stCondLst>
                      <p:childTnLst>
                        <p:par>
                          <p:cTn id="95" fill="hold">
                            <p:stCondLst>
                              <p:cond delay="0"/>
                            </p:stCondLst>
                            <p:childTnLst>
                              <p:par>
                                <p:cTn id="96" presetID="1" presetClass="entr" presetSubtype="0" fill="hold" nodeType="clickEffect">
                                  <p:stCondLst>
                                    <p:cond delay="0"/>
                                  </p:stCondLst>
                                  <p:childTnLst>
                                    <p:set>
                                      <p:cBhvr>
                                        <p:cTn id="97" dur="1" fill="hold">
                                          <p:stCondLst>
                                            <p:cond delay="0"/>
                                          </p:stCondLst>
                                        </p:cTn>
                                        <p:tgtEl>
                                          <p:spTgt spid="129"/>
                                        </p:tgtEl>
                                        <p:attrNameLst>
                                          <p:attrName>style.visibility</p:attrName>
                                        </p:attrNameLst>
                                      </p:cBhvr>
                                      <p:to>
                                        <p:strVal val="visible"/>
                                      </p:to>
                                    </p:set>
                                  </p:childTnLst>
                                </p:cTn>
                              </p:par>
                            </p:childTnLst>
                          </p:cTn>
                        </p:par>
                      </p:childTnLst>
                    </p:cTn>
                  </p:par>
                  <p:par>
                    <p:cTn id="98" fill="hold">
                      <p:stCondLst>
                        <p:cond delay="indefinite"/>
                      </p:stCondLst>
                      <p:childTnLst>
                        <p:par>
                          <p:cTn id="99" fill="hold">
                            <p:stCondLst>
                              <p:cond delay="0"/>
                            </p:stCondLst>
                            <p:childTnLst>
                              <p:par>
                                <p:cTn id="100" presetID="2" presetClass="entr" presetSubtype="8" fill="hold" nodeType="clickEffect">
                                  <p:stCondLst>
                                    <p:cond delay="0"/>
                                  </p:stCondLst>
                                  <p:childTnLst>
                                    <p:set>
                                      <p:cBhvr>
                                        <p:cTn id="101" dur="1" fill="hold">
                                          <p:stCondLst>
                                            <p:cond delay="0"/>
                                          </p:stCondLst>
                                        </p:cTn>
                                        <p:tgtEl>
                                          <p:spTgt spid="133"/>
                                        </p:tgtEl>
                                        <p:attrNameLst>
                                          <p:attrName>style.visibility</p:attrName>
                                        </p:attrNameLst>
                                      </p:cBhvr>
                                      <p:to>
                                        <p:strVal val="visible"/>
                                      </p:to>
                                    </p:set>
                                    <p:anim calcmode="lin" valueType="num">
                                      <p:cBhvr additive="base">
                                        <p:cTn id="102" dur="500" fill="hold"/>
                                        <p:tgtEl>
                                          <p:spTgt spid="133"/>
                                        </p:tgtEl>
                                        <p:attrNameLst>
                                          <p:attrName>ppt_x</p:attrName>
                                        </p:attrNameLst>
                                      </p:cBhvr>
                                      <p:tavLst>
                                        <p:tav tm="0">
                                          <p:val>
                                            <p:strVal val="0-#ppt_w/2"/>
                                          </p:val>
                                        </p:tav>
                                        <p:tav tm="100000">
                                          <p:val>
                                            <p:strVal val="#ppt_x"/>
                                          </p:val>
                                        </p:tav>
                                      </p:tavLst>
                                    </p:anim>
                                    <p:anim calcmode="lin" valueType="num">
                                      <p:cBhvr additive="base">
                                        <p:cTn id="103" dur="500" fill="hold"/>
                                        <p:tgtEl>
                                          <p:spTgt spid="133"/>
                                        </p:tgtEl>
                                        <p:attrNameLst>
                                          <p:attrName>ppt_y</p:attrName>
                                        </p:attrNameLst>
                                      </p:cBhvr>
                                      <p:tavLst>
                                        <p:tav tm="0">
                                          <p:val>
                                            <p:strVal val="#ppt_y"/>
                                          </p:val>
                                        </p:tav>
                                        <p:tav tm="100000">
                                          <p:val>
                                            <p:strVal val="#ppt_y"/>
                                          </p:val>
                                        </p:tav>
                                      </p:tavLst>
                                    </p:anim>
                                  </p:childTnLst>
                                </p:cTn>
                              </p:par>
                            </p:childTnLst>
                          </p:cTn>
                        </p:par>
                      </p:childTnLst>
                    </p:cTn>
                  </p:par>
                  <p:par>
                    <p:cTn id="104" fill="hold">
                      <p:stCondLst>
                        <p:cond delay="indefinite"/>
                      </p:stCondLst>
                      <p:childTnLst>
                        <p:par>
                          <p:cTn id="105" fill="hold">
                            <p:stCondLst>
                              <p:cond delay="0"/>
                            </p:stCondLst>
                            <p:childTnLst>
                              <p:par>
                                <p:cTn id="106" presetID="10" presetClass="exit" presetSubtype="0" fill="hold" nodeType="clickEffect">
                                  <p:stCondLst>
                                    <p:cond delay="0"/>
                                  </p:stCondLst>
                                  <p:childTnLst>
                                    <p:animEffect transition="out" filter="fade">
                                      <p:cBhvr>
                                        <p:cTn id="107" dur="500"/>
                                        <p:tgtEl>
                                          <p:spTgt spid="129"/>
                                        </p:tgtEl>
                                      </p:cBhvr>
                                    </p:animEffect>
                                    <p:set>
                                      <p:cBhvr>
                                        <p:cTn id="108" dur="1" fill="hold">
                                          <p:stCondLst>
                                            <p:cond delay="499"/>
                                          </p:stCondLst>
                                        </p:cTn>
                                        <p:tgtEl>
                                          <p:spTgt spid="129"/>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500"/>
                                        <p:tgtEl>
                                          <p:spTgt spid="133"/>
                                        </p:tgtEl>
                                      </p:cBhvr>
                                    </p:animEffect>
                                    <p:set>
                                      <p:cBhvr>
                                        <p:cTn id="111" dur="1" fill="hold">
                                          <p:stCondLst>
                                            <p:cond delay="499"/>
                                          </p:stCondLst>
                                        </p:cTn>
                                        <p:tgtEl>
                                          <p:spTgt spid="13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p:cNvSpPr/>
          <p:nvPr/>
        </p:nvSpPr>
        <p:spPr>
          <a:xfrm rot="10800000">
            <a:off x="144038" y="6315373"/>
            <a:ext cx="412293" cy="338554"/>
          </a:xfrm>
          <a:prstGeom prst="rect">
            <a:avLst/>
          </a:prstGeom>
        </p:spPr>
        <p:txBody>
          <a:bodyPr wrap="none">
            <a:spAutoFit/>
          </a:bodyPr>
          <a:lstStyle>
            <a:defPPr>
              <a:defRPr lang="en-US"/>
            </a:defPPr>
            <a:lvl1pPr marL="0" algn="l" defTabSz="914340" rtl="0" eaLnBrk="1" latinLnBrk="0" hangingPunct="1">
              <a:defRPr sz="1800" kern="1200">
                <a:solidFill>
                  <a:schemeClr val="tx1"/>
                </a:solidFill>
                <a:latin typeface="+mn-lt"/>
                <a:ea typeface="+mn-ea"/>
                <a:cs typeface="+mn-cs"/>
              </a:defRPr>
            </a:lvl1pPr>
            <a:lvl2pPr marL="457170"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1" algn="l" defTabSz="914340" rtl="0" eaLnBrk="1" latinLnBrk="0" hangingPunct="1">
              <a:defRPr sz="1800" kern="1200">
                <a:solidFill>
                  <a:schemeClr val="tx1"/>
                </a:solidFill>
                <a:latin typeface="+mn-lt"/>
                <a:ea typeface="+mn-ea"/>
                <a:cs typeface="+mn-cs"/>
              </a:defRPr>
            </a:lvl7pPr>
            <a:lvl8pPr marL="3200193"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a:lstStyle>
          <a:p>
            <a:pPr algn="ctr"/>
            <a:r>
              <a:rPr lang="en-AU" sz="1600" dirty="0">
                <a:solidFill>
                  <a:schemeClr val="bg1"/>
                </a:solidFill>
                <a:latin typeface="Lato"/>
              </a:rPr>
              <a:t>15</a:t>
            </a:r>
          </a:p>
        </p:txBody>
      </p:sp>
      <p:sp>
        <p:nvSpPr>
          <p:cNvPr id="2" name="Espace réservé du numéro de diapositive 1"/>
          <p:cNvSpPr>
            <a:spLocks noGrp="1"/>
          </p:cNvSpPr>
          <p:nvPr>
            <p:ph type="sldNum" sz="quarter" idx="12"/>
          </p:nvPr>
        </p:nvSpPr>
        <p:spPr>
          <a:xfrm>
            <a:off x="9280997" y="6289289"/>
            <a:ext cx="2743200" cy="365125"/>
          </a:xfrm>
        </p:spPr>
        <p:txBody>
          <a:bodyPr vert="horz" lIns="91440" tIns="45720" rIns="91440" bIns="45720" rtlCol="0" anchor="ctr"/>
          <a:lstStyle/>
          <a:p>
            <a:r>
              <a:rPr lang="fr-FR" sz="1600" dirty="0">
                <a:solidFill>
                  <a:schemeClr val="bg1"/>
                </a:solidFill>
                <a:latin typeface="Lato"/>
              </a:rPr>
              <a:t>6</a:t>
            </a:r>
          </a:p>
        </p:txBody>
      </p:sp>
      <p:sp>
        <p:nvSpPr>
          <p:cNvPr id="34" name="ZoneTexte 53">
            <a:extLst>
              <a:ext uri="{FF2B5EF4-FFF2-40B4-BE49-F238E27FC236}">
                <a16:creationId xmlns:a16="http://schemas.microsoft.com/office/drawing/2014/main" id="{D8885FCA-35FC-4F99-ADC9-3760D0B70E98}"/>
              </a:ext>
            </a:extLst>
          </p:cNvPr>
          <p:cNvSpPr txBox="1"/>
          <p:nvPr/>
        </p:nvSpPr>
        <p:spPr>
          <a:xfrm>
            <a:off x="390860" y="74183"/>
            <a:ext cx="1821107"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Environnement </a:t>
            </a:r>
          </a:p>
          <a:p>
            <a:r>
              <a:rPr lang="it-IT" dirty="0"/>
              <a:t>du projet</a:t>
            </a:r>
            <a:endParaRPr lang="fr-FR" dirty="0"/>
          </a:p>
        </p:txBody>
      </p:sp>
      <p:sp>
        <p:nvSpPr>
          <p:cNvPr id="35" name="ZoneTexte 54">
            <a:extLst>
              <a:ext uri="{FF2B5EF4-FFF2-40B4-BE49-F238E27FC236}">
                <a16:creationId xmlns:a16="http://schemas.microsoft.com/office/drawing/2014/main" id="{075A0EF2-40C2-48B5-9CBE-61F1E4B47A52}"/>
              </a:ext>
            </a:extLst>
          </p:cNvPr>
          <p:cNvSpPr txBox="1"/>
          <p:nvPr/>
        </p:nvSpPr>
        <p:spPr>
          <a:xfrm>
            <a:off x="6433678" y="74184"/>
            <a:ext cx="1784587" cy="646331"/>
          </a:xfrm>
          <a:prstGeom prst="rect">
            <a:avLst/>
          </a:prstGeom>
          <a:solidFill>
            <a:schemeClr val="bg2"/>
          </a:solidFill>
        </p:spPr>
        <p:txBody>
          <a:bodyPr wrap="square" rtlCol="0">
            <a:spAutoFit/>
          </a:bodyPr>
          <a:lstStyle>
            <a:defPPr>
              <a:defRPr lang="fr-FR"/>
            </a:defPPr>
            <a:lvl1pPr algn="ctr">
              <a:defRPr sz="2000">
                <a:latin typeface="Lato  "/>
              </a:defRPr>
            </a:lvl1pPr>
          </a:lstStyle>
          <a:p>
            <a:r>
              <a:rPr lang="it-IT" sz="1800" dirty="0"/>
              <a:t>Mise en oeuvre du projet</a:t>
            </a:r>
            <a:endParaRPr lang="fr-FR" sz="1800" dirty="0"/>
          </a:p>
        </p:txBody>
      </p:sp>
      <p:sp>
        <p:nvSpPr>
          <p:cNvPr id="36" name="ZoneTexte 55">
            <a:extLst>
              <a:ext uri="{FF2B5EF4-FFF2-40B4-BE49-F238E27FC236}">
                <a16:creationId xmlns:a16="http://schemas.microsoft.com/office/drawing/2014/main" id="{AA7A650D-08A4-430F-9BA3-68642D5C20D7}"/>
              </a:ext>
            </a:extLst>
          </p:cNvPr>
          <p:cNvSpPr txBox="1"/>
          <p:nvPr/>
        </p:nvSpPr>
        <p:spPr>
          <a:xfrm>
            <a:off x="9319488" y="74730"/>
            <a:ext cx="1752879" cy="646331"/>
          </a:xfrm>
          <a:prstGeom prst="rect">
            <a:avLst/>
          </a:prstGeom>
          <a:solidFill>
            <a:schemeClr val="bg2"/>
          </a:solidFill>
        </p:spPr>
        <p:txBody>
          <a:bodyPr wrap="square" rtlCol="0">
            <a:spAutoFit/>
          </a:bodyPr>
          <a:lstStyle/>
          <a:p>
            <a:pPr algn="ctr"/>
            <a:r>
              <a:rPr lang="it-IT" dirty="0">
                <a:latin typeface="Lato  "/>
              </a:rPr>
              <a:t>Conclusion et</a:t>
            </a:r>
          </a:p>
          <a:p>
            <a:pPr algn="ctr"/>
            <a:r>
              <a:rPr lang="it-IT" dirty="0">
                <a:latin typeface="Lato  "/>
              </a:rPr>
              <a:t> Perspectives</a:t>
            </a:r>
            <a:endParaRPr lang="fr-FR" dirty="0">
              <a:latin typeface="Lato  "/>
            </a:endParaRPr>
          </a:p>
        </p:txBody>
      </p:sp>
      <p:cxnSp>
        <p:nvCxnSpPr>
          <p:cNvPr id="37" name="Connecteur droit 56">
            <a:extLst>
              <a:ext uri="{FF2B5EF4-FFF2-40B4-BE49-F238E27FC236}">
                <a16:creationId xmlns:a16="http://schemas.microsoft.com/office/drawing/2014/main" id="{6BC9D870-64CF-4086-8165-248FB9DF834E}"/>
              </a:ext>
            </a:extLst>
          </p:cNvPr>
          <p:cNvCxnSpPr>
            <a:cxnSpLocks/>
          </p:cNvCxnSpPr>
          <p:nvPr/>
        </p:nvCxnSpPr>
        <p:spPr>
          <a:xfrm>
            <a:off x="11077903" y="410171"/>
            <a:ext cx="793875"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38" name="Connecteur droit 57">
            <a:extLst>
              <a:ext uri="{FF2B5EF4-FFF2-40B4-BE49-F238E27FC236}">
                <a16:creationId xmlns:a16="http://schemas.microsoft.com/office/drawing/2014/main" id="{886A79F6-775A-4F22-9876-760E63F856F8}"/>
              </a:ext>
            </a:extLst>
          </p:cNvPr>
          <p:cNvCxnSpPr>
            <a:cxnSpLocks/>
            <a:stCxn id="34" idx="3"/>
            <a:endCxn id="44" idx="1"/>
          </p:cNvCxnSpPr>
          <p:nvPr/>
        </p:nvCxnSpPr>
        <p:spPr>
          <a:xfrm>
            <a:off x="2211967" y="397349"/>
            <a:ext cx="1101223"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39" name="Connecteur droit 58">
            <a:extLst>
              <a:ext uri="{FF2B5EF4-FFF2-40B4-BE49-F238E27FC236}">
                <a16:creationId xmlns:a16="http://schemas.microsoft.com/office/drawing/2014/main" id="{07495931-39A8-4586-8587-DFE560C22457}"/>
              </a:ext>
            </a:extLst>
          </p:cNvPr>
          <p:cNvCxnSpPr>
            <a:cxnSpLocks/>
            <a:stCxn id="35" idx="3"/>
            <a:endCxn id="36" idx="1"/>
          </p:cNvCxnSpPr>
          <p:nvPr/>
        </p:nvCxnSpPr>
        <p:spPr>
          <a:xfrm>
            <a:off x="8218265" y="397350"/>
            <a:ext cx="1101223" cy="546"/>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40" name="Group 3">
            <a:extLst>
              <a:ext uri="{FF2B5EF4-FFF2-40B4-BE49-F238E27FC236}">
                <a16:creationId xmlns:a16="http://schemas.microsoft.com/office/drawing/2014/main" id="{90466E8F-EAEA-4188-BAB4-CDB3D5791868}"/>
              </a:ext>
            </a:extLst>
          </p:cNvPr>
          <p:cNvGrpSpPr/>
          <p:nvPr/>
        </p:nvGrpSpPr>
        <p:grpSpPr>
          <a:xfrm rot="10800000">
            <a:off x="11632841" y="410171"/>
            <a:ext cx="504000" cy="6352766"/>
            <a:chOff x="-5771165" y="1295207"/>
            <a:chExt cx="504000" cy="6352766"/>
          </a:xfrm>
          <a:solidFill>
            <a:srgbClr val="020088"/>
          </a:solidFill>
        </p:grpSpPr>
        <p:cxnSp>
          <p:nvCxnSpPr>
            <p:cNvPr id="41" name="Straight Connector 9">
              <a:extLst>
                <a:ext uri="{FF2B5EF4-FFF2-40B4-BE49-F238E27FC236}">
                  <a16:creationId xmlns:a16="http://schemas.microsoft.com/office/drawing/2014/main" id="{850D966E-D121-46A2-A9B6-126C44278D70}"/>
                </a:ext>
              </a:extLst>
            </p:cNvPr>
            <p:cNvCxnSpPr>
              <a:cxnSpLocks/>
            </p:cNvCxnSpPr>
            <p:nvPr/>
          </p:nvCxnSpPr>
          <p:spPr>
            <a:xfrm rot="10800000" flipV="1">
              <a:off x="-5506102" y="1610316"/>
              <a:ext cx="0" cy="6037657"/>
            </a:xfrm>
            <a:prstGeom prst="line">
              <a:avLst/>
            </a:prstGeom>
            <a:grpFill/>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42" name="Teardrop 38">
              <a:extLst>
                <a:ext uri="{FF2B5EF4-FFF2-40B4-BE49-F238E27FC236}">
                  <a16:creationId xmlns:a16="http://schemas.microsoft.com/office/drawing/2014/main" id="{03E30689-2FFD-45ED-9EC0-5A673DE16196}"/>
                </a:ext>
              </a:extLst>
            </p:cNvPr>
            <p:cNvSpPr/>
            <p:nvPr/>
          </p:nvSpPr>
          <p:spPr>
            <a:xfrm rot="8100000">
              <a:off x="-5771165" y="1295207"/>
              <a:ext cx="504000" cy="504000"/>
            </a:xfrm>
            <a:prstGeom prst="teardrop">
              <a:avLst>
                <a:gd name="adj" fmla="val 9891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dirty="0"/>
            </a:p>
          </p:txBody>
        </p:sp>
      </p:grpSp>
      <p:sp>
        <p:nvSpPr>
          <p:cNvPr id="43" name="Espace réservé du numéro de diapositive 1">
            <a:extLst>
              <a:ext uri="{FF2B5EF4-FFF2-40B4-BE49-F238E27FC236}">
                <a16:creationId xmlns:a16="http://schemas.microsoft.com/office/drawing/2014/main" id="{61C7C86C-F77D-471A-BEC3-BD649C753A32}"/>
              </a:ext>
            </a:extLst>
          </p:cNvPr>
          <p:cNvSpPr txBox="1">
            <a:spLocks/>
          </p:cNvSpPr>
          <p:nvPr/>
        </p:nvSpPr>
        <p:spPr>
          <a:xfrm>
            <a:off x="9292085" y="6296927"/>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solidFill>
                <a:latin typeface="Lato"/>
              </a:rPr>
              <a:t>7</a:t>
            </a:r>
          </a:p>
        </p:txBody>
      </p:sp>
      <p:sp>
        <p:nvSpPr>
          <p:cNvPr id="44" name="ZoneTexte 54">
            <a:extLst>
              <a:ext uri="{FF2B5EF4-FFF2-40B4-BE49-F238E27FC236}">
                <a16:creationId xmlns:a16="http://schemas.microsoft.com/office/drawing/2014/main" id="{F6E1A537-9FC1-4A8A-BECF-A513605A1A33}"/>
              </a:ext>
            </a:extLst>
          </p:cNvPr>
          <p:cNvSpPr txBox="1"/>
          <p:nvPr/>
        </p:nvSpPr>
        <p:spPr>
          <a:xfrm>
            <a:off x="3313190" y="74184"/>
            <a:ext cx="2024481" cy="646331"/>
          </a:xfrm>
          <a:prstGeom prst="rect">
            <a:avLst/>
          </a:prstGeom>
          <a:solidFill>
            <a:srgbClr val="020088"/>
          </a:solidFill>
        </p:spPr>
        <p:txBody>
          <a:bodyPr wrap="square" rtlCol="0">
            <a:spAutoFit/>
          </a:bodyPr>
          <a:lstStyle>
            <a:defPPr>
              <a:defRPr lang="fr-FR"/>
            </a:defPPr>
            <a:lvl1pPr algn="ctr">
              <a:defRPr>
                <a:solidFill>
                  <a:schemeClr val="bg1"/>
                </a:solidFill>
                <a:latin typeface="Lato  "/>
              </a:defRPr>
            </a:lvl1pPr>
          </a:lstStyle>
          <a:p>
            <a:r>
              <a:rPr lang="it-IT" dirty="0"/>
              <a:t>Contexte Général</a:t>
            </a:r>
          </a:p>
          <a:p>
            <a:r>
              <a:rPr lang="it-IT" dirty="0"/>
              <a:t> du projet</a:t>
            </a:r>
          </a:p>
        </p:txBody>
      </p:sp>
      <p:cxnSp>
        <p:nvCxnSpPr>
          <p:cNvPr id="45" name="Connecteur droit 57">
            <a:extLst>
              <a:ext uri="{FF2B5EF4-FFF2-40B4-BE49-F238E27FC236}">
                <a16:creationId xmlns:a16="http://schemas.microsoft.com/office/drawing/2014/main" id="{02317BB6-B80E-4776-BB98-9571F0DC567C}"/>
              </a:ext>
            </a:extLst>
          </p:cNvPr>
          <p:cNvCxnSpPr>
            <a:cxnSpLocks/>
            <a:stCxn id="44" idx="3"/>
            <a:endCxn id="35" idx="1"/>
          </p:cNvCxnSpPr>
          <p:nvPr/>
        </p:nvCxnSpPr>
        <p:spPr>
          <a:xfrm>
            <a:off x="5337671" y="397350"/>
            <a:ext cx="1096007" cy="0"/>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46" name="Groupe 28">
            <a:extLst>
              <a:ext uri="{FF2B5EF4-FFF2-40B4-BE49-F238E27FC236}">
                <a16:creationId xmlns:a16="http://schemas.microsoft.com/office/drawing/2014/main" id="{614EF61D-FD86-444B-9D92-2B050B77C8AC}"/>
              </a:ext>
            </a:extLst>
          </p:cNvPr>
          <p:cNvGrpSpPr/>
          <p:nvPr/>
        </p:nvGrpSpPr>
        <p:grpSpPr>
          <a:xfrm>
            <a:off x="144038" y="861075"/>
            <a:ext cx="1996812" cy="423771"/>
            <a:chOff x="1753713" y="816113"/>
            <a:chExt cx="1441631" cy="423771"/>
          </a:xfrm>
        </p:grpSpPr>
        <p:sp>
          <p:nvSpPr>
            <p:cNvPr id="47" name="ZoneTexte 20">
              <a:extLst>
                <a:ext uri="{FF2B5EF4-FFF2-40B4-BE49-F238E27FC236}">
                  <a16:creationId xmlns:a16="http://schemas.microsoft.com/office/drawing/2014/main" id="{F97867DB-3219-4369-A6C0-14CDE690DF22}"/>
                </a:ext>
              </a:extLst>
            </p:cNvPr>
            <p:cNvSpPr txBox="1"/>
            <p:nvPr/>
          </p:nvSpPr>
          <p:spPr>
            <a:xfrm>
              <a:off x="1753713" y="816113"/>
              <a:ext cx="1441631"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lumMod val="65000"/>
                    </a:schemeClr>
                  </a:solidFill>
                </a:rPr>
                <a:t>Problématique</a:t>
              </a:r>
            </a:p>
          </p:txBody>
        </p:sp>
        <p:cxnSp>
          <p:nvCxnSpPr>
            <p:cNvPr id="48" name="Connecteur droit 51">
              <a:extLst>
                <a:ext uri="{FF2B5EF4-FFF2-40B4-BE49-F238E27FC236}">
                  <a16:creationId xmlns:a16="http://schemas.microsoft.com/office/drawing/2014/main" id="{D048288E-3873-4BAE-A286-2D7021695163}"/>
                </a:ext>
              </a:extLst>
            </p:cNvPr>
            <p:cNvCxnSpPr/>
            <p:nvPr/>
          </p:nvCxnSpPr>
          <p:spPr>
            <a:xfrm>
              <a:off x="1860066" y="123988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9" name="Groupe 12">
            <a:extLst>
              <a:ext uri="{FF2B5EF4-FFF2-40B4-BE49-F238E27FC236}">
                <a16:creationId xmlns:a16="http://schemas.microsoft.com/office/drawing/2014/main" id="{7713009C-FD80-4C89-B727-0BB90C4CB39C}"/>
              </a:ext>
            </a:extLst>
          </p:cNvPr>
          <p:cNvGrpSpPr/>
          <p:nvPr/>
        </p:nvGrpSpPr>
        <p:grpSpPr>
          <a:xfrm>
            <a:off x="3855792" y="861075"/>
            <a:ext cx="3233729" cy="379493"/>
            <a:chOff x="5059598" y="818819"/>
            <a:chExt cx="3233729" cy="379493"/>
          </a:xfrm>
        </p:grpSpPr>
        <p:sp>
          <p:nvSpPr>
            <p:cNvPr id="50" name="ZoneTexte 23">
              <a:extLst>
                <a:ext uri="{FF2B5EF4-FFF2-40B4-BE49-F238E27FC236}">
                  <a16:creationId xmlns:a16="http://schemas.microsoft.com/office/drawing/2014/main" id="{DD5226CF-0896-4E8B-A196-3C4001B34720}"/>
                </a:ext>
              </a:extLst>
            </p:cNvPr>
            <p:cNvSpPr txBox="1"/>
            <p:nvPr/>
          </p:nvSpPr>
          <p:spPr>
            <a:xfrm>
              <a:off x="5059598" y="818819"/>
              <a:ext cx="3233729"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600" b="1" dirty="0">
                  <a:latin typeface="Lato  "/>
                </a:rPr>
                <a:t>Méthodologie de résolution</a:t>
              </a:r>
            </a:p>
          </p:txBody>
        </p:sp>
        <p:cxnSp>
          <p:nvCxnSpPr>
            <p:cNvPr id="51" name="Connecteur droit 64">
              <a:extLst>
                <a:ext uri="{FF2B5EF4-FFF2-40B4-BE49-F238E27FC236}">
                  <a16:creationId xmlns:a16="http://schemas.microsoft.com/office/drawing/2014/main" id="{DBDFC1D2-98C6-4D62-9AAA-AB035E716482}"/>
                </a:ext>
              </a:extLst>
            </p:cNvPr>
            <p:cNvCxnSpPr/>
            <p:nvPr/>
          </p:nvCxnSpPr>
          <p:spPr>
            <a:xfrm>
              <a:off x="5411034" y="1198312"/>
              <a:ext cx="771015" cy="0"/>
            </a:xfrm>
            <a:prstGeom prst="line">
              <a:avLst/>
            </a:prstGeom>
            <a:ln w="28575">
              <a:solidFill>
                <a:srgbClr val="EE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e 59">
            <a:extLst>
              <a:ext uri="{FF2B5EF4-FFF2-40B4-BE49-F238E27FC236}">
                <a16:creationId xmlns:a16="http://schemas.microsoft.com/office/drawing/2014/main" id="{7D2051A2-B809-45AB-8D3A-BE8D0F7C4204}"/>
              </a:ext>
            </a:extLst>
          </p:cNvPr>
          <p:cNvGrpSpPr/>
          <p:nvPr/>
        </p:nvGrpSpPr>
        <p:grpSpPr>
          <a:xfrm>
            <a:off x="7766479" y="841128"/>
            <a:ext cx="4307093" cy="399286"/>
            <a:chOff x="3692310" y="58690"/>
            <a:chExt cx="1655092" cy="420701"/>
          </a:xfrm>
        </p:grpSpPr>
        <p:sp>
          <p:nvSpPr>
            <p:cNvPr id="53" name="ZoneTexte 60">
              <a:extLst>
                <a:ext uri="{FF2B5EF4-FFF2-40B4-BE49-F238E27FC236}">
                  <a16:creationId xmlns:a16="http://schemas.microsoft.com/office/drawing/2014/main" id="{0BDFD350-A9C6-4292-B85B-09DC5057582A}"/>
                </a:ext>
              </a:extLst>
            </p:cNvPr>
            <p:cNvSpPr txBox="1"/>
            <p:nvPr/>
          </p:nvSpPr>
          <p:spPr>
            <a:xfrm>
              <a:off x="3692310" y="58690"/>
              <a:ext cx="1655092" cy="356712"/>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lumMod val="65000"/>
                    </a:schemeClr>
                  </a:solidFill>
                </a:rPr>
                <a:t>Planification</a:t>
              </a:r>
              <a:r>
                <a:rPr lang="fr-FR" sz="1600" b="1" dirty="0"/>
                <a:t> </a:t>
              </a:r>
              <a:r>
                <a:rPr lang="fr-FR" sz="1600" dirty="0">
                  <a:solidFill>
                    <a:schemeClr val="bg1">
                      <a:lumMod val="65000"/>
                    </a:schemeClr>
                  </a:solidFill>
                </a:rPr>
                <a:t>du projet</a:t>
              </a:r>
            </a:p>
          </p:txBody>
        </p:sp>
        <p:cxnSp>
          <p:nvCxnSpPr>
            <p:cNvPr id="54" name="Connecteur droit 61">
              <a:extLst>
                <a:ext uri="{FF2B5EF4-FFF2-40B4-BE49-F238E27FC236}">
                  <a16:creationId xmlns:a16="http://schemas.microsoft.com/office/drawing/2014/main" id="{00BD45FF-3E6D-416F-A9D3-4785CFF629B2}"/>
                </a:ext>
              </a:extLst>
            </p:cNvPr>
            <p:cNvCxnSpPr/>
            <p:nvPr/>
          </p:nvCxnSpPr>
          <p:spPr>
            <a:xfrm>
              <a:off x="3911241" y="479391"/>
              <a:ext cx="296279"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6" name="Freeform 28">
            <a:extLst>
              <a:ext uri="{FF2B5EF4-FFF2-40B4-BE49-F238E27FC236}">
                <a16:creationId xmlns:a16="http://schemas.microsoft.com/office/drawing/2014/main" id="{8E2E60CA-3788-4191-AF91-7A613464D5EE}"/>
              </a:ext>
            </a:extLst>
          </p:cNvPr>
          <p:cNvSpPr/>
          <p:nvPr/>
        </p:nvSpPr>
        <p:spPr>
          <a:xfrm>
            <a:off x="912650" y="1988840"/>
            <a:ext cx="1995155" cy="1059809"/>
          </a:xfrm>
          <a:custGeom>
            <a:avLst/>
            <a:gdLst>
              <a:gd name="connsiteX0" fmla="*/ 0 w 1766093"/>
              <a:gd name="connsiteY0" fmla="*/ 0 h 706437"/>
              <a:gd name="connsiteX1" fmla="*/ 1412875 w 1766093"/>
              <a:gd name="connsiteY1" fmla="*/ 0 h 706437"/>
              <a:gd name="connsiteX2" fmla="*/ 1766093 w 1766093"/>
              <a:gd name="connsiteY2" fmla="*/ 353219 h 706437"/>
              <a:gd name="connsiteX3" fmla="*/ 1412875 w 1766093"/>
              <a:gd name="connsiteY3" fmla="*/ 706437 h 706437"/>
              <a:gd name="connsiteX4" fmla="*/ 0 w 1766093"/>
              <a:gd name="connsiteY4" fmla="*/ 706437 h 706437"/>
              <a:gd name="connsiteX5" fmla="*/ 353219 w 1766093"/>
              <a:gd name="connsiteY5" fmla="*/ 353219 h 706437"/>
              <a:gd name="connsiteX6" fmla="*/ 0 w 1766093"/>
              <a:gd name="connsiteY6" fmla="*/ 0 h 70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6093" h="706437">
                <a:moveTo>
                  <a:pt x="0" y="0"/>
                </a:moveTo>
                <a:lnTo>
                  <a:pt x="1412875" y="0"/>
                </a:lnTo>
                <a:lnTo>
                  <a:pt x="1766093" y="353219"/>
                </a:lnTo>
                <a:lnTo>
                  <a:pt x="1412875" y="706437"/>
                </a:lnTo>
                <a:lnTo>
                  <a:pt x="0" y="706437"/>
                </a:lnTo>
                <a:lnTo>
                  <a:pt x="353219" y="353219"/>
                </a:lnTo>
                <a:lnTo>
                  <a:pt x="0" y="0"/>
                </a:lnTo>
                <a:close/>
              </a:path>
            </a:pathLst>
          </a:custGeom>
          <a:solidFill>
            <a:srgbClr val="00B0F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2"/>
          </a:lnRef>
          <a:fillRef idx="3">
            <a:schemeClr val="accent2"/>
          </a:fillRef>
          <a:effectRef idx="3">
            <a:schemeClr val="accent2"/>
          </a:effectRef>
          <a:fontRef idx="minor">
            <a:schemeClr val="lt1"/>
          </a:fontRef>
        </p:style>
        <p:txBody>
          <a:bodyPr spcFirstLastPara="0" vert="horz" wrap="square" lIns="429229" tIns="25337" rIns="378555" bIns="25337" numCol="1" spcCol="1270" anchor="ctr" anchorCtr="0">
            <a:noAutofit/>
          </a:bodyPr>
          <a:lstStyle/>
          <a:p>
            <a:pPr lvl="0" algn="ctr" defTabSz="844550">
              <a:lnSpc>
                <a:spcPct val="90000"/>
              </a:lnSpc>
              <a:spcBef>
                <a:spcPct val="0"/>
              </a:spcBef>
              <a:spcAft>
                <a:spcPct val="35000"/>
              </a:spcAft>
            </a:pPr>
            <a:r>
              <a:rPr lang="fr-FR" sz="2000" kern="1200" dirty="0">
                <a:latin typeface="Times New Roman" panose="02020603050405020304" pitchFamily="18" charset="0"/>
                <a:cs typeface="Times New Roman" panose="02020603050405020304" pitchFamily="18" charset="0"/>
              </a:rPr>
              <a:t>Définir</a:t>
            </a:r>
          </a:p>
        </p:txBody>
      </p:sp>
      <p:sp>
        <p:nvSpPr>
          <p:cNvPr id="67" name="Freeform 29">
            <a:extLst>
              <a:ext uri="{FF2B5EF4-FFF2-40B4-BE49-F238E27FC236}">
                <a16:creationId xmlns:a16="http://schemas.microsoft.com/office/drawing/2014/main" id="{51977DCD-61CF-4CCD-875B-EB0D2F57F19A}"/>
              </a:ext>
            </a:extLst>
          </p:cNvPr>
          <p:cNvSpPr/>
          <p:nvPr/>
        </p:nvSpPr>
        <p:spPr>
          <a:xfrm>
            <a:off x="2843824" y="1998672"/>
            <a:ext cx="1995155" cy="1059809"/>
          </a:xfrm>
          <a:custGeom>
            <a:avLst/>
            <a:gdLst>
              <a:gd name="connsiteX0" fmla="*/ 0 w 1766093"/>
              <a:gd name="connsiteY0" fmla="*/ 0 h 706437"/>
              <a:gd name="connsiteX1" fmla="*/ 1412875 w 1766093"/>
              <a:gd name="connsiteY1" fmla="*/ 0 h 706437"/>
              <a:gd name="connsiteX2" fmla="*/ 1766093 w 1766093"/>
              <a:gd name="connsiteY2" fmla="*/ 353219 h 706437"/>
              <a:gd name="connsiteX3" fmla="*/ 1412875 w 1766093"/>
              <a:gd name="connsiteY3" fmla="*/ 706437 h 706437"/>
              <a:gd name="connsiteX4" fmla="*/ 0 w 1766093"/>
              <a:gd name="connsiteY4" fmla="*/ 706437 h 706437"/>
              <a:gd name="connsiteX5" fmla="*/ 353219 w 1766093"/>
              <a:gd name="connsiteY5" fmla="*/ 353219 h 706437"/>
              <a:gd name="connsiteX6" fmla="*/ 0 w 1766093"/>
              <a:gd name="connsiteY6" fmla="*/ 0 h 70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6093" h="706437">
                <a:moveTo>
                  <a:pt x="0" y="0"/>
                </a:moveTo>
                <a:lnTo>
                  <a:pt x="1412875" y="0"/>
                </a:lnTo>
                <a:lnTo>
                  <a:pt x="1766093" y="353219"/>
                </a:lnTo>
                <a:lnTo>
                  <a:pt x="1412875" y="706437"/>
                </a:lnTo>
                <a:lnTo>
                  <a:pt x="0" y="706437"/>
                </a:lnTo>
                <a:lnTo>
                  <a:pt x="353219" y="353219"/>
                </a:lnTo>
                <a:lnTo>
                  <a:pt x="0" y="0"/>
                </a:lnTo>
                <a:close/>
              </a:path>
            </a:pathLst>
          </a:custGeom>
          <a:solidFill>
            <a:srgbClr val="92D05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29229" tIns="25337" rIns="378555" bIns="25337" numCol="1" spcCol="1270" anchor="ctr" anchorCtr="0">
            <a:noAutofit/>
          </a:bodyPr>
          <a:lstStyle/>
          <a:p>
            <a:pPr lvl="0" algn="ctr" defTabSz="844550">
              <a:lnSpc>
                <a:spcPct val="90000"/>
              </a:lnSpc>
              <a:spcBef>
                <a:spcPct val="0"/>
              </a:spcBef>
              <a:spcAft>
                <a:spcPct val="35000"/>
              </a:spcAft>
            </a:pPr>
            <a:r>
              <a:rPr lang="fr-FR" sz="2000" kern="1200" dirty="0">
                <a:latin typeface="Times New Roman" panose="02020603050405020304" pitchFamily="18" charset="0"/>
                <a:cs typeface="Times New Roman" panose="02020603050405020304" pitchFamily="18" charset="0"/>
              </a:rPr>
              <a:t>Mesurer</a:t>
            </a:r>
          </a:p>
        </p:txBody>
      </p:sp>
      <p:sp>
        <p:nvSpPr>
          <p:cNvPr id="68" name="Freeform 30">
            <a:extLst>
              <a:ext uri="{FF2B5EF4-FFF2-40B4-BE49-F238E27FC236}">
                <a16:creationId xmlns:a16="http://schemas.microsoft.com/office/drawing/2014/main" id="{B7242E26-EBBB-4476-BDDF-954DE0340D71}"/>
              </a:ext>
            </a:extLst>
          </p:cNvPr>
          <p:cNvSpPr/>
          <p:nvPr/>
        </p:nvSpPr>
        <p:spPr>
          <a:xfrm>
            <a:off x="4775000" y="1988840"/>
            <a:ext cx="1995155" cy="1059809"/>
          </a:xfrm>
          <a:custGeom>
            <a:avLst/>
            <a:gdLst>
              <a:gd name="connsiteX0" fmla="*/ 0 w 1766093"/>
              <a:gd name="connsiteY0" fmla="*/ 0 h 706437"/>
              <a:gd name="connsiteX1" fmla="*/ 1412875 w 1766093"/>
              <a:gd name="connsiteY1" fmla="*/ 0 h 706437"/>
              <a:gd name="connsiteX2" fmla="*/ 1766093 w 1766093"/>
              <a:gd name="connsiteY2" fmla="*/ 353219 h 706437"/>
              <a:gd name="connsiteX3" fmla="*/ 1412875 w 1766093"/>
              <a:gd name="connsiteY3" fmla="*/ 706437 h 706437"/>
              <a:gd name="connsiteX4" fmla="*/ 0 w 1766093"/>
              <a:gd name="connsiteY4" fmla="*/ 706437 h 706437"/>
              <a:gd name="connsiteX5" fmla="*/ 353219 w 1766093"/>
              <a:gd name="connsiteY5" fmla="*/ 353219 h 706437"/>
              <a:gd name="connsiteX6" fmla="*/ 0 w 1766093"/>
              <a:gd name="connsiteY6" fmla="*/ 0 h 70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6093" h="706437">
                <a:moveTo>
                  <a:pt x="0" y="0"/>
                </a:moveTo>
                <a:lnTo>
                  <a:pt x="1412875" y="0"/>
                </a:lnTo>
                <a:lnTo>
                  <a:pt x="1766093" y="353219"/>
                </a:lnTo>
                <a:lnTo>
                  <a:pt x="1412875" y="706437"/>
                </a:lnTo>
                <a:lnTo>
                  <a:pt x="0" y="706437"/>
                </a:lnTo>
                <a:lnTo>
                  <a:pt x="353219" y="353219"/>
                </a:lnTo>
                <a:lnTo>
                  <a:pt x="0" y="0"/>
                </a:lnTo>
                <a:close/>
              </a:path>
            </a:pathLst>
          </a:custGeom>
          <a:solidFill>
            <a:srgbClr val="FF6699"/>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29229" tIns="25337" rIns="378555" bIns="25337" numCol="1" spcCol="1270" anchor="ctr" anchorCtr="0">
            <a:noAutofit/>
          </a:bodyPr>
          <a:lstStyle/>
          <a:p>
            <a:pPr lvl="0" algn="ctr" defTabSz="844550">
              <a:lnSpc>
                <a:spcPct val="90000"/>
              </a:lnSpc>
              <a:spcBef>
                <a:spcPct val="0"/>
              </a:spcBef>
              <a:spcAft>
                <a:spcPct val="35000"/>
              </a:spcAft>
            </a:pPr>
            <a:r>
              <a:rPr lang="fr-FR" sz="2000" kern="1200" dirty="0">
                <a:latin typeface="Times New Roman" panose="02020603050405020304" pitchFamily="18" charset="0"/>
                <a:cs typeface="Times New Roman" panose="02020603050405020304" pitchFamily="18" charset="0"/>
              </a:rPr>
              <a:t>Analyser</a:t>
            </a:r>
          </a:p>
        </p:txBody>
      </p:sp>
      <p:sp>
        <p:nvSpPr>
          <p:cNvPr id="71" name="Freeform 31">
            <a:extLst>
              <a:ext uri="{FF2B5EF4-FFF2-40B4-BE49-F238E27FC236}">
                <a16:creationId xmlns:a16="http://schemas.microsoft.com/office/drawing/2014/main" id="{F9B3F30F-3A81-4022-9F25-A8C4501AAC2B}"/>
              </a:ext>
            </a:extLst>
          </p:cNvPr>
          <p:cNvSpPr/>
          <p:nvPr/>
        </p:nvSpPr>
        <p:spPr>
          <a:xfrm>
            <a:off x="6706175" y="1988840"/>
            <a:ext cx="1995155" cy="1059809"/>
          </a:xfrm>
          <a:custGeom>
            <a:avLst/>
            <a:gdLst>
              <a:gd name="connsiteX0" fmla="*/ 0 w 1766093"/>
              <a:gd name="connsiteY0" fmla="*/ 0 h 706437"/>
              <a:gd name="connsiteX1" fmla="*/ 1412875 w 1766093"/>
              <a:gd name="connsiteY1" fmla="*/ 0 h 706437"/>
              <a:gd name="connsiteX2" fmla="*/ 1766093 w 1766093"/>
              <a:gd name="connsiteY2" fmla="*/ 353219 h 706437"/>
              <a:gd name="connsiteX3" fmla="*/ 1412875 w 1766093"/>
              <a:gd name="connsiteY3" fmla="*/ 706437 h 706437"/>
              <a:gd name="connsiteX4" fmla="*/ 0 w 1766093"/>
              <a:gd name="connsiteY4" fmla="*/ 706437 h 706437"/>
              <a:gd name="connsiteX5" fmla="*/ 353219 w 1766093"/>
              <a:gd name="connsiteY5" fmla="*/ 353219 h 706437"/>
              <a:gd name="connsiteX6" fmla="*/ 0 w 1766093"/>
              <a:gd name="connsiteY6" fmla="*/ 0 h 70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6093" h="706437">
                <a:moveTo>
                  <a:pt x="0" y="0"/>
                </a:moveTo>
                <a:lnTo>
                  <a:pt x="1412875" y="0"/>
                </a:lnTo>
                <a:lnTo>
                  <a:pt x="1766093" y="353219"/>
                </a:lnTo>
                <a:lnTo>
                  <a:pt x="1412875" y="706437"/>
                </a:lnTo>
                <a:lnTo>
                  <a:pt x="0" y="706437"/>
                </a:lnTo>
                <a:lnTo>
                  <a:pt x="353219" y="353219"/>
                </a:lnTo>
                <a:lnTo>
                  <a:pt x="0" y="0"/>
                </a:lnTo>
                <a:close/>
              </a:path>
            </a:pathLst>
          </a:custGeom>
          <a:solidFill>
            <a:schemeClr val="accent4">
              <a:lumMod val="60000"/>
              <a:lumOff val="4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29229" tIns="25337" rIns="378555" bIns="25337" numCol="1" spcCol="1270" anchor="ctr" anchorCtr="0">
            <a:noAutofit/>
          </a:bodyPr>
          <a:lstStyle/>
          <a:p>
            <a:pPr lvl="0" algn="ctr" defTabSz="844550">
              <a:lnSpc>
                <a:spcPct val="90000"/>
              </a:lnSpc>
              <a:spcBef>
                <a:spcPct val="0"/>
              </a:spcBef>
              <a:spcAft>
                <a:spcPct val="35000"/>
              </a:spcAft>
            </a:pPr>
            <a:r>
              <a:rPr lang="fr-FR" sz="2000" kern="1200" dirty="0">
                <a:latin typeface="Times New Roman" panose="02020603050405020304" pitchFamily="18" charset="0"/>
                <a:cs typeface="Times New Roman" panose="02020603050405020304" pitchFamily="18" charset="0"/>
              </a:rPr>
              <a:t>Innover</a:t>
            </a:r>
          </a:p>
        </p:txBody>
      </p:sp>
      <p:sp>
        <p:nvSpPr>
          <p:cNvPr id="72" name="Freeform 32">
            <a:extLst>
              <a:ext uri="{FF2B5EF4-FFF2-40B4-BE49-F238E27FC236}">
                <a16:creationId xmlns:a16="http://schemas.microsoft.com/office/drawing/2014/main" id="{EBB636BC-4DA6-4AA6-97A5-AB0907BFBC1B}"/>
              </a:ext>
            </a:extLst>
          </p:cNvPr>
          <p:cNvSpPr/>
          <p:nvPr/>
        </p:nvSpPr>
        <p:spPr>
          <a:xfrm>
            <a:off x="8637349" y="1988840"/>
            <a:ext cx="1995155" cy="1059809"/>
          </a:xfrm>
          <a:custGeom>
            <a:avLst/>
            <a:gdLst>
              <a:gd name="connsiteX0" fmla="*/ 0 w 1766093"/>
              <a:gd name="connsiteY0" fmla="*/ 0 h 706437"/>
              <a:gd name="connsiteX1" fmla="*/ 1412875 w 1766093"/>
              <a:gd name="connsiteY1" fmla="*/ 0 h 706437"/>
              <a:gd name="connsiteX2" fmla="*/ 1766093 w 1766093"/>
              <a:gd name="connsiteY2" fmla="*/ 353219 h 706437"/>
              <a:gd name="connsiteX3" fmla="*/ 1412875 w 1766093"/>
              <a:gd name="connsiteY3" fmla="*/ 706437 h 706437"/>
              <a:gd name="connsiteX4" fmla="*/ 0 w 1766093"/>
              <a:gd name="connsiteY4" fmla="*/ 706437 h 706437"/>
              <a:gd name="connsiteX5" fmla="*/ 353219 w 1766093"/>
              <a:gd name="connsiteY5" fmla="*/ 353219 h 706437"/>
              <a:gd name="connsiteX6" fmla="*/ 0 w 1766093"/>
              <a:gd name="connsiteY6" fmla="*/ 0 h 70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6093" h="706437">
                <a:moveTo>
                  <a:pt x="0" y="0"/>
                </a:moveTo>
                <a:lnTo>
                  <a:pt x="1412875" y="0"/>
                </a:lnTo>
                <a:lnTo>
                  <a:pt x="1766093" y="353219"/>
                </a:lnTo>
                <a:lnTo>
                  <a:pt x="1412875" y="706437"/>
                </a:lnTo>
                <a:lnTo>
                  <a:pt x="0" y="706437"/>
                </a:lnTo>
                <a:lnTo>
                  <a:pt x="353219" y="353219"/>
                </a:lnTo>
                <a:lnTo>
                  <a:pt x="0" y="0"/>
                </a:lnTo>
                <a:close/>
              </a:path>
            </a:pathLst>
          </a:custGeom>
          <a:solidFill>
            <a:schemeClr val="accent5">
              <a:lumMod val="7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29229" tIns="25337" rIns="378555" bIns="25337" numCol="1" spcCol="1270" anchor="ctr" anchorCtr="0">
            <a:noAutofit/>
          </a:bodyPr>
          <a:lstStyle/>
          <a:p>
            <a:pPr lvl="0" algn="ctr" defTabSz="844550">
              <a:lnSpc>
                <a:spcPct val="90000"/>
              </a:lnSpc>
              <a:spcBef>
                <a:spcPct val="0"/>
              </a:spcBef>
              <a:spcAft>
                <a:spcPct val="35000"/>
              </a:spcAft>
            </a:pPr>
            <a:r>
              <a:rPr lang="fr-FR" sz="2000" kern="1200" dirty="0">
                <a:latin typeface="Times New Roman" panose="02020603050405020304" pitchFamily="18" charset="0"/>
                <a:cs typeface="Times New Roman" panose="02020603050405020304" pitchFamily="18" charset="0"/>
              </a:rPr>
              <a:t>Contrôler</a:t>
            </a:r>
          </a:p>
        </p:txBody>
      </p:sp>
      <p:sp>
        <p:nvSpPr>
          <p:cNvPr id="73" name="Rounded Rectangle 35">
            <a:extLst>
              <a:ext uri="{FF2B5EF4-FFF2-40B4-BE49-F238E27FC236}">
                <a16:creationId xmlns:a16="http://schemas.microsoft.com/office/drawing/2014/main" id="{FD025289-54FD-47A5-8986-78F8F6584971}"/>
              </a:ext>
            </a:extLst>
          </p:cNvPr>
          <p:cNvSpPr/>
          <p:nvPr/>
        </p:nvSpPr>
        <p:spPr>
          <a:xfrm>
            <a:off x="912650" y="4120564"/>
            <a:ext cx="1780357" cy="1233634"/>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solidFill>
                <a:latin typeface="Times New Roman" panose="02020603050405020304" pitchFamily="18" charset="0"/>
                <a:cs typeface="Times New Roman" panose="02020603050405020304" pitchFamily="18" charset="0"/>
              </a:rPr>
              <a:t>Définir l’Objectif et étendue du projet </a:t>
            </a:r>
          </a:p>
        </p:txBody>
      </p:sp>
      <p:sp>
        <p:nvSpPr>
          <p:cNvPr id="75" name="Rounded Rectangle 42">
            <a:extLst>
              <a:ext uri="{FF2B5EF4-FFF2-40B4-BE49-F238E27FC236}">
                <a16:creationId xmlns:a16="http://schemas.microsoft.com/office/drawing/2014/main" id="{643ADA2B-27E5-4B98-AE5F-117E6A41B6E4}"/>
              </a:ext>
            </a:extLst>
          </p:cNvPr>
          <p:cNvSpPr/>
          <p:nvPr/>
        </p:nvSpPr>
        <p:spPr>
          <a:xfrm>
            <a:off x="6770155" y="5142935"/>
            <a:ext cx="1780357" cy="705100"/>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solidFill>
                <a:latin typeface="Times New Roman" panose="02020603050405020304" pitchFamily="18" charset="0"/>
                <a:cs typeface="Times New Roman" panose="02020603050405020304" pitchFamily="18" charset="0"/>
              </a:rPr>
              <a:t>Implémenter des solutions</a:t>
            </a:r>
          </a:p>
        </p:txBody>
      </p:sp>
      <p:sp>
        <p:nvSpPr>
          <p:cNvPr id="76" name="Rounded Rectangle 43">
            <a:extLst>
              <a:ext uri="{FF2B5EF4-FFF2-40B4-BE49-F238E27FC236}">
                <a16:creationId xmlns:a16="http://schemas.microsoft.com/office/drawing/2014/main" id="{97D59C45-9BE5-4440-9293-82653B78C7F4}"/>
              </a:ext>
            </a:extLst>
          </p:cNvPr>
          <p:cNvSpPr/>
          <p:nvPr/>
        </p:nvSpPr>
        <p:spPr>
          <a:xfrm>
            <a:off x="4957695" y="4120565"/>
            <a:ext cx="1780357" cy="705100"/>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solidFill>
                <a:latin typeface="Times New Roman" panose="02020603050405020304" pitchFamily="18" charset="0"/>
                <a:cs typeface="Times New Roman" panose="02020603050405020304" pitchFamily="18" charset="0"/>
              </a:rPr>
              <a:t>Identifier les causes</a:t>
            </a:r>
          </a:p>
        </p:txBody>
      </p:sp>
      <p:sp>
        <p:nvSpPr>
          <p:cNvPr id="77" name="Rounded Rectangle 44">
            <a:extLst>
              <a:ext uri="{FF2B5EF4-FFF2-40B4-BE49-F238E27FC236}">
                <a16:creationId xmlns:a16="http://schemas.microsoft.com/office/drawing/2014/main" id="{CC18B02A-2494-458E-9F7E-94E7778A1022}"/>
              </a:ext>
            </a:extLst>
          </p:cNvPr>
          <p:cNvSpPr/>
          <p:nvPr/>
        </p:nvSpPr>
        <p:spPr>
          <a:xfrm>
            <a:off x="2994643" y="5099441"/>
            <a:ext cx="1780357" cy="1361209"/>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solidFill>
                <a:latin typeface="Times New Roman" panose="02020603050405020304" pitchFamily="18" charset="0"/>
                <a:cs typeface="Times New Roman" panose="02020603050405020304" pitchFamily="18" charset="0"/>
              </a:rPr>
              <a:t>Mesurer L’impact sur la qualité et le système de production</a:t>
            </a:r>
          </a:p>
        </p:txBody>
      </p:sp>
      <p:sp>
        <p:nvSpPr>
          <p:cNvPr id="78" name="Rounded Rectangle 45">
            <a:extLst>
              <a:ext uri="{FF2B5EF4-FFF2-40B4-BE49-F238E27FC236}">
                <a16:creationId xmlns:a16="http://schemas.microsoft.com/office/drawing/2014/main" id="{CF7DE8B7-496F-4DC3-B435-676608D2DBC7}"/>
              </a:ext>
            </a:extLst>
          </p:cNvPr>
          <p:cNvSpPr/>
          <p:nvPr/>
        </p:nvSpPr>
        <p:spPr>
          <a:xfrm>
            <a:off x="8852147" y="4033579"/>
            <a:ext cx="1780357" cy="1014430"/>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solidFill>
                <a:latin typeface="Times New Roman" panose="02020603050405020304" pitchFamily="18" charset="0"/>
                <a:cs typeface="Times New Roman" panose="02020603050405020304" pitchFamily="18" charset="0"/>
              </a:rPr>
              <a:t>mettre sous contrôle</a:t>
            </a:r>
          </a:p>
        </p:txBody>
      </p:sp>
      <p:cxnSp>
        <p:nvCxnSpPr>
          <p:cNvPr id="79" name="Straight Connector 78">
            <a:extLst>
              <a:ext uri="{FF2B5EF4-FFF2-40B4-BE49-F238E27FC236}">
                <a16:creationId xmlns:a16="http://schemas.microsoft.com/office/drawing/2014/main" id="{3101DA3A-7409-4366-9A79-FE45D28E354F}"/>
              </a:ext>
            </a:extLst>
          </p:cNvPr>
          <p:cNvCxnSpPr>
            <a:cxnSpLocks/>
            <a:stCxn id="73" idx="0"/>
          </p:cNvCxnSpPr>
          <p:nvPr/>
        </p:nvCxnSpPr>
        <p:spPr>
          <a:xfrm flipH="1" flipV="1">
            <a:off x="1775521" y="3048650"/>
            <a:ext cx="27308" cy="1071914"/>
          </a:xfrm>
          <a:prstGeom prst="line">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8605208-5AC1-430C-B149-A1573592A80E}"/>
              </a:ext>
            </a:extLst>
          </p:cNvPr>
          <p:cNvCxnSpPr>
            <a:cxnSpLocks/>
            <a:stCxn id="77" idx="0"/>
          </p:cNvCxnSpPr>
          <p:nvPr/>
        </p:nvCxnSpPr>
        <p:spPr>
          <a:xfrm flipH="1" flipV="1">
            <a:off x="3863752" y="3048651"/>
            <a:ext cx="21070" cy="205079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BA87F30-8C85-4720-BC9F-C8BE8DBFEBFD}"/>
              </a:ext>
            </a:extLst>
          </p:cNvPr>
          <p:cNvCxnSpPr>
            <a:stCxn id="76" idx="0"/>
          </p:cNvCxnSpPr>
          <p:nvPr/>
        </p:nvCxnSpPr>
        <p:spPr>
          <a:xfrm flipH="1" flipV="1">
            <a:off x="5847873" y="3022049"/>
            <a:ext cx="1" cy="1098516"/>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8FFB594-E097-427B-9207-9B2CD85C060E}"/>
              </a:ext>
            </a:extLst>
          </p:cNvPr>
          <p:cNvCxnSpPr>
            <a:stCxn id="75" idx="0"/>
          </p:cNvCxnSpPr>
          <p:nvPr/>
        </p:nvCxnSpPr>
        <p:spPr>
          <a:xfrm flipH="1" flipV="1">
            <a:off x="7660332" y="3035349"/>
            <a:ext cx="2" cy="2107586"/>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91BFB49-BE36-4FFD-AFF8-49AE671DDACC}"/>
              </a:ext>
            </a:extLst>
          </p:cNvPr>
          <p:cNvCxnSpPr>
            <a:stCxn id="78" idx="0"/>
          </p:cNvCxnSpPr>
          <p:nvPr/>
        </p:nvCxnSpPr>
        <p:spPr>
          <a:xfrm flipV="1">
            <a:off x="9742326" y="2995449"/>
            <a:ext cx="0" cy="103813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4237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nodeType="afterEffect">
                                  <p:stCondLst>
                                    <p:cond delay="0"/>
                                  </p:stCondLst>
                                  <p:childTnLst>
                                    <p:animRot by="120000">
                                      <p:cBhvr>
                                        <p:cTn id="6" dur="100" fill="hold">
                                          <p:stCondLst>
                                            <p:cond delay="0"/>
                                          </p:stCondLst>
                                        </p:cTn>
                                        <p:tgtEl>
                                          <p:spTgt spid="49"/>
                                        </p:tgtEl>
                                        <p:attrNameLst>
                                          <p:attrName>r</p:attrName>
                                        </p:attrNameLst>
                                      </p:cBhvr>
                                    </p:animRot>
                                    <p:animRot by="-240000">
                                      <p:cBhvr>
                                        <p:cTn id="7" dur="200" fill="hold">
                                          <p:stCondLst>
                                            <p:cond delay="200"/>
                                          </p:stCondLst>
                                        </p:cTn>
                                        <p:tgtEl>
                                          <p:spTgt spid="49"/>
                                        </p:tgtEl>
                                        <p:attrNameLst>
                                          <p:attrName>r</p:attrName>
                                        </p:attrNameLst>
                                      </p:cBhvr>
                                    </p:animRot>
                                    <p:animRot by="240000">
                                      <p:cBhvr>
                                        <p:cTn id="8" dur="200" fill="hold">
                                          <p:stCondLst>
                                            <p:cond delay="400"/>
                                          </p:stCondLst>
                                        </p:cTn>
                                        <p:tgtEl>
                                          <p:spTgt spid="49"/>
                                        </p:tgtEl>
                                        <p:attrNameLst>
                                          <p:attrName>r</p:attrName>
                                        </p:attrNameLst>
                                      </p:cBhvr>
                                    </p:animRot>
                                    <p:animRot by="-240000">
                                      <p:cBhvr>
                                        <p:cTn id="9" dur="200" fill="hold">
                                          <p:stCondLst>
                                            <p:cond delay="600"/>
                                          </p:stCondLst>
                                        </p:cTn>
                                        <p:tgtEl>
                                          <p:spTgt spid="49"/>
                                        </p:tgtEl>
                                        <p:attrNameLst>
                                          <p:attrName>r</p:attrName>
                                        </p:attrNameLst>
                                      </p:cBhvr>
                                    </p:animRot>
                                    <p:animRot by="120000">
                                      <p:cBhvr>
                                        <p:cTn id="10" dur="200" fill="hold">
                                          <p:stCondLst>
                                            <p:cond delay="800"/>
                                          </p:stCondLst>
                                        </p:cTn>
                                        <p:tgtEl>
                                          <p:spTgt spid="49"/>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47" presetClass="entr" presetSubtype="0" fill="hold" grpId="0" nodeType="clickEffect">
                                  <p:stCondLst>
                                    <p:cond delay="0"/>
                                  </p:stCondLst>
                                  <p:childTnLst>
                                    <p:set>
                                      <p:cBhvr>
                                        <p:cTn id="14" dur="1" fill="hold">
                                          <p:stCondLst>
                                            <p:cond delay="0"/>
                                          </p:stCondLst>
                                        </p:cTn>
                                        <p:tgtEl>
                                          <p:spTgt spid="66">
                                            <p:bg/>
                                          </p:spTgt>
                                        </p:tgtEl>
                                        <p:attrNameLst>
                                          <p:attrName>style.visibility</p:attrName>
                                        </p:attrNameLst>
                                      </p:cBhvr>
                                      <p:to>
                                        <p:strVal val="visible"/>
                                      </p:to>
                                    </p:set>
                                    <p:animEffect transition="in" filter="fade">
                                      <p:cBhvr>
                                        <p:cTn id="15" dur="250"/>
                                        <p:tgtEl>
                                          <p:spTgt spid="66">
                                            <p:bg/>
                                          </p:spTgt>
                                        </p:tgtEl>
                                      </p:cBhvr>
                                    </p:animEffect>
                                    <p:anim calcmode="lin" valueType="num">
                                      <p:cBhvr>
                                        <p:cTn id="16" dur="250" fill="hold"/>
                                        <p:tgtEl>
                                          <p:spTgt spid="66">
                                            <p:bg/>
                                          </p:spTgt>
                                        </p:tgtEl>
                                        <p:attrNameLst>
                                          <p:attrName>ppt_x</p:attrName>
                                        </p:attrNameLst>
                                      </p:cBhvr>
                                      <p:tavLst>
                                        <p:tav tm="0">
                                          <p:val>
                                            <p:strVal val="#ppt_x"/>
                                          </p:val>
                                        </p:tav>
                                        <p:tav tm="100000">
                                          <p:val>
                                            <p:strVal val="#ppt_x"/>
                                          </p:val>
                                        </p:tav>
                                      </p:tavLst>
                                    </p:anim>
                                    <p:anim calcmode="lin" valueType="num">
                                      <p:cBhvr>
                                        <p:cTn id="17" dur="250" fill="hold"/>
                                        <p:tgtEl>
                                          <p:spTgt spid="66">
                                            <p:bg/>
                                          </p:spTgt>
                                        </p:tgtEl>
                                        <p:attrNameLst>
                                          <p:attrName>ppt_y</p:attrName>
                                        </p:attrNameLst>
                                      </p:cBhvr>
                                      <p:tavLst>
                                        <p:tav tm="0">
                                          <p:val>
                                            <p:strVal val="#ppt_y-.1"/>
                                          </p:val>
                                        </p:tav>
                                        <p:tav tm="100000">
                                          <p:val>
                                            <p:strVal val="#ppt_y"/>
                                          </p:val>
                                        </p:tav>
                                      </p:tavLst>
                                    </p:anim>
                                  </p:childTnLst>
                                </p:cTn>
                              </p:par>
                              <p:par>
                                <p:cTn id="18" presetID="47" presetClass="entr" presetSubtype="0" fill="hold" grpId="0" nodeType="withEffect">
                                  <p:stCondLst>
                                    <p:cond delay="0"/>
                                  </p:stCondLst>
                                  <p:childTnLst>
                                    <p:set>
                                      <p:cBhvr>
                                        <p:cTn id="19" dur="1" fill="hold">
                                          <p:stCondLst>
                                            <p:cond delay="0"/>
                                          </p:stCondLst>
                                        </p:cTn>
                                        <p:tgtEl>
                                          <p:spTgt spid="66">
                                            <p:txEl>
                                              <p:pRg st="0" end="0"/>
                                            </p:txEl>
                                          </p:spTgt>
                                        </p:tgtEl>
                                        <p:attrNameLst>
                                          <p:attrName>style.visibility</p:attrName>
                                        </p:attrNameLst>
                                      </p:cBhvr>
                                      <p:to>
                                        <p:strVal val="visible"/>
                                      </p:to>
                                    </p:set>
                                    <p:animEffect transition="in" filter="fade">
                                      <p:cBhvr>
                                        <p:cTn id="20" dur="250"/>
                                        <p:tgtEl>
                                          <p:spTgt spid="66">
                                            <p:txEl>
                                              <p:pRg st="0" end="0"/>
                                            </p:txEl>
                                          </p:spTgt>
                                        </p:tgtEl>
                                      </p:cBhvr>
                                    </p:animEffect>
                                    <p:anim calcmode="lin" valueType="num">
                                      <p:cBhvr>
                                        <p:cTn id="21" dur="250" fill="hold"/>
                                        <p:tgtEl>
                                          <p:spTgt spid="66">
                                            <p:txEl>
                                              <p:pRg st="0" end="0"/>
                                            </p:txEl>
                                          </p:spTgt>
                                        </p:tgtEl>
                                        <p:attrNameLst>
                                          <p:attrName>ppt_x</p:attrName>
                                        </p:attrNameLst>
                                      </p:cBhvr>
                                      <p:tavLst>
                                        <p:tav tm="0">
                                          <p:val>
                                            <p:strVal val="#ppt_x"/>
                                          </p:val>
                                        </p:tav>
                                        <p:tav tm="100000">
                                          <p:val>
                                            <p:strVal val="#ppt_x"/>
                                          </p:val>
                                        </p:tav>
                                      </p:tavLst>
                                    </p:anim>
                                    <p:anim calcmode="lin" valueType="num">
                                      <p:cBhvr>
                                        <p:cTn id="22" dur="250" fill="hold"/>
                                        <p:tgtEl>
                                          <p:spTgt spid="66">
                                            <p:txEl>
                                              <p:pRg st="0" end="0"/>
                                            </p:txEl>
                                          </p:spTgt>
                                        </p:tgtEl>
                                        <p:attrNameLst>
                                          <p:attrName>ppt_y</p:attrName>
                                        </p:attrNameLst>
                                      </p:cBhvr>
                                      <p:tavLst>
                                        <p:tav tm="0">
                                          <p:val>
                                            <p:strVal val="#ppt_y-.1"/>
                                          </p:val>
                                        </p:tav>
                                        <p:tav tm="100000">
                                          <p:val>
                                            <p:strVal val="#ppt_y"/>
                                          </p:val>
                                        </p:tav>
                                      </p:tavLst>
                                    </p:anim>
                                  </p:childTnLst>
                                </p:cTn>
                              </p:par>
                            </p:childTnLst>
                          </p:cTn>
                        </p:par>
                        <p:par>
                          <p:cTn id="23" fill="hold">
                            <p:stCondLst>
                              <p:cond delay="250"/>
                            </p:stCondLst>
                            <p:childTnLst>
                              <p:par>
                                <p:cTn id="24" presetID="47" presetClass="entr" presetSubtype="0" fill="hold" grpId="0" nodeType="afterEffect">
                                  <p:stCondLst>
                                    <p:cond delay="0"/>
                                  </p:stCondLst>
                                  <p:childTnLst>
                                    <p:set>
                                      <p:cBhvr>
                                        <p:cTn id="25" dur="1" fill="hold">
                                          <p:stCondLst>
                                            <p:cond delay="0"/>
                                          </p:stCondLst>
                                        </p:cTn>
                                        <p:tgtEl>
                                          <p:spTgt spid="67">
                                            <p:bg/>
                                          </p:spTgt>
                                        </p:tgtEl>
                                        <p:attrNameLst>
                                          <p:attrName>style.visibility</p:attrName>
                                        </p:attrNameLst>
                                      </p:cBhvr>
                                      <p:to>
                                        <p:strVal val="visible"/>
                                      </p:to>
                                    </p:set>
                                    <p:animEffect transition="in" filter="fade">
                                      <p:cBhvr>
                                        <p:cTn id="26" dur="250"/>
                                        <p:tgtEl>
                                          <p:spTgt spid="67">
                                            <p:bg/>
                                          </p:spTgt>
                                        </p:tgtEl>
                                      </p:cBhvr>
                                    </p:animEffect>
                                    <p:anim calcmode="lin" valueType="num">
                                      <p:cBhvr>
                                        <p:cTn id="27" dur="250" fill="hold"/>
                                        <p:tgtEl>
                                          <p:spTgt spid="67">
                                            <p:bg/>
                                          </p:spTgt>
                                        </p:tgtEl>
                                        <p:attrNameLst>
                                          <p:attrName>ppt_x</p:attrName>
                                        </p:attrNameLst>
                                      </p:cBhvr>
                                      <p:tavLst>
                                        <p:tav tm="0">
                                          <p:val>
                                            <p:strVal val="#ppt_x"/>
                                          </p:val>
                                        </p:tav>
                                        <p:tav tm="100000">
                                          <p:val>
                                            <p:strVal val="#ppt_x"/>
                                          </p:val>
                                        </p:tav>
                                      </p:tavLst>
                                    </p:anim>
                                    <p:anim calcmode="lin" valueType="num">
                                      <p:cBhvr>
                                        <p:cTn id="28" dur="250" fill="hold"/>
                                        <p:tgtEl>
                                          <p:spTgt spid="67">
                                            <p:bg/>
                                          </p:spTgt>
                                        </p:tgtEl>
                                        <p:attrNameLst>
                                          <p:attrName>ppt_y</p:attrName>
                                        </p:attrNameLst>
                                      </p:cBhvr>
                                      <p:tavLst>
                                        <p:tav tm="0">
                                          <p:val>
                                            <p:strVal val="#ppt_y-.1"/>
                                          </p:val>
                                        </p:tav>
                                        <p:tav tm="100000">
                                          <p:val>
                                            <p:strVal val="#ppt_y"/>
                                          </p:val>
                                        </p:tav>
                                      </p:tavLst>
                                    </p:anim>
                                  </p:childTnLst>
                                </p:cTn>
                              </p:par>
                              <p:par>
                                <p:cTn id="29" presetID="47" presetClass="entr" presetSubtype="0" fill="hold" grpId="0" nodeType="withEffect">
                                  <p:stCondLst>
                                    <p:cond delay="0"/>
                                  </p:stCondLst>
                                  <p:childTnLst>
                                    <p:set>
                                      <p:cBhvr>
                                        <p:cTn id="30" dur="1" fill="hold">
                                          <p:stCondLst>
                                            <p:cond delay="0"/>
                                          </p:stCondLst>
                                        </p:cTn>
                                        <p:tgtEl>
                                          <p:spTgt spid="67">
                                            <p:txEl>
                                              <p:pRg st="0" end="0"/>
                                            </p:txEl>
                                          </p:spTgt>
                                        </p:tgtEl>
                                        <p:attrNameLst>
                                          <p:attrName>style.visibility</p:attrName>
                                        </p:attrNameLst>
                                      </p:cBhvr>
                                      <p:to>
                                        <p:strVal val="visible"/>
                                      </p:to>
                                    </p:set>
                                    <p:animEffect transition="in" filter="fade">
                                      <p:cBhvr>
                                        <p:cTn id="31" dur="250"/>
                                        <p:tgtEl>
                                          <p:spTgt spid="67">
                                            <p:txEl>
                                              <p:pRg st="0" end="0"/>
                                            </p:txEl>
                                          </p:spTgt>
                                        </p:tgtEl>
                                      </p:cBhvr>
                                    </p:animEffect>
                                    <p:anim calcmode="lin" valueType="num">
                                      <p:cBhvr>
                                        <p:cTn id="32" dur="250" fill="hold"/>
                                        <p:tgtEl>
                                          <p:spTgt spid="67">
                                            <p:txEl>
                                              <p:pRg st="0" end="0"/>
                                            </p:txEl>
                                          </p:spTgt>
                                        </p:tgtEl>
                                        <p:attrNameLst>
                                          <p:attrName>ppt_x</p:attrName>
                                        </p:attrNameLst>
                                      </p:cBhvr>
                                      <p:tavLst>
                                        <p:tav tm="0">
                                          <p:val>
                                            <p:strVal val="#ppt_x"/>
                                          </p:val>
                                        </p:tav>
                                        <p:tav tm="100000">
                                          <p:val>
                                            <p:strVal val="#ppt_x"/>
                                          </p:val>
                                        </p:tav>
                                      </p:tavLst>
                                    </p:anim>
                                    <p:anim calcmode="lin" valueType="num">
                                      <p:cBhvr>
                                        <p:cTn id="33" dur="250" fill="hold"/>
                                        <p:tgtEl>
                                          <p:spTgt spid="6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
                            </p:stCondLst>
                            <p:childTnLst>
                              <p:par>
                                <p:cTn id="35" presetID="47" presetClass="entr" presetSubtype="0" fill="hold" grpId="0" nodeType="afterEffect">
                                  <p:stCondLst>
                                    <p:cond delay="0"/>
                                  </p:stCondLst>
                                  <p:childTnLst>
                                    <p:set>
                                      <p:cBhvr>
                                        <p:cTn id="36" dur="1" fill="hold">
                                          <p:stCondLst>
                                            <p:cond delay="0"/>
                                          </p:stCondLst>
                                        </p:cTn>
                                        <p:tgtEl>
                                          <p:spTgt spid="68">
                                            <p:bg/>
                                          </p:spTgt>
                                        </p:tgtEl>
                                        <p:attrNameLst>
                                          <p:attrName>style.visibility</p:attrName>
                                        </p:attrNameLst>
                                      </p:cBhvr>
                                      <p:to>
                                        <p:strVal val="visible"/>
                                      </p:to>
                                    </p:set>
                                    <p:animEffect transition="in" filter="fade">
                                      <p:cBhvr>
                                        <p:cTn id="37" dur="250"/>
                                        <p:tgtEl>
                                          <p:spTgt spid="68">
                                            <p:bg/>
                                          </p:spTgt>
                                        </p:tgtEl>
                                      </p:cBhvr>
                                    </p:animEffect>
                                    <p:anim calcmode="lin" valueType="num">
                                      <p:cBhvr>
                                        <p:cTn id="38" dur="250" fill="hold"/>
                                        <p:tgtEl>
                                          <p:spTgt spid="68">
                                            <p:bg/>
                                          </p:spTgt>
                                        </p:tgtEl>
                                        <p:attrNameLst>
                                          <p:attrName>ppt_x</p:attrName>
                                        </p:attrNameLst>
                                      </p:cBhvr>
                                      <p:tavLst>
                                        <p:tav tm="0">
                                          <p:val>
                                            <p:strVal val="#ppt_x"/>
                                          </p:val>
                                        </p:tav>
                                        <p:tav tm="100000">
                                          <p:val>
                                            <p:strVal val="#ppt_x"/>
                                          </p:val>
                                        </p:tav>
                                      </p:tavLst>
                                    </p:anim>
                                    <p:anim calcmode="lin" valueType="num">
                                      <p:cBhvr>
                                        <p:cTn id="39" dur="250" fill="hold"/>
                                        <p:tgtEl>
                                          <p:spTgt spid="68">
                                            <p:bg/>
                                          </p:spTgt>
                                        </p:tgtEl>
                                        <p:attrNameLst>
                                          <p:attrName>ppt_y</p:attrName>
                                        </p:attrNameLst>
                                      </p:cBhvr>
                                      <p:tavLst>
                                        <p:tav tm="0">
                                          <p:val>
                                            <p:strVal val="#ppt_y-.1"/>
                                          </p:val>
                                        </p:tav>
                                        <p:tav tm="100000">
                                          <p:val>
                                            <p:strVal val="#ppt_y"/>
                                          </p:val>
                                        </p:tav>
                                      </p:tavLst>
                                    </p:anim>
                                  </p:childTnLst>
                                </p:cTn>
                              </p:par>
                              <p:par>
                                <p:cTn id="40" presetID="47" presetClass="entr" presetSubtype="0" fill="hold" grpId="0" nodeType="withEffect">
                                  <p:stCondLst>
                                    <p:cond delay="0"/>
                                  </p:stCondLst>
                                  <p:childTnLst>
                                    <p:set>
                                      <p:cBhvr>
                                        <p:cTn id="41" dur="1" fill="hold">
                                          <p:stCondLst>
                                            <p:cond delay="0"/>
                                          </p:stCondLst>
                                        </p:cTn>
                                        <p:tgtEl>
                                          <p:spTgt spid="68">
                                            <p:txEl>
                                              <p:pRg st="0" end="0"/>
                                            </p:txEl>
                                          </p:spTgt>
                                        </p:tgtEl>
                                        <p:attrNameLst>
                                          <p:attrName>style.visibility</p:attrName>
                                        </p:attrNameLst>
                                      </p:cBhvr>
                                      <p:to>
                                        <p:strVal val="visible"/>
                                      </p:to>
                                    </p:set>
                                    <p:animEffect transition="in" filter="fade">
                                      <p:cBhvr>
                                        <p:cTn id="42" dur="250"/>
                                        <p:tgtEl>
                                          <p:spTgt spid="68">
                                            <p:txEl>
                                              <p:pRg st="0" end="0"/>
                                            </p:txEl>
                                          </p:spTgt>
                                        </p:tgtEl>
                                      </p:cBhvr>
                                    </p:animEffect>
                                    <p:anim calcmode="lin" valueType="num">
                                      <p:cBhvr>
                                        <p:cTn id="43" dur="250" fill="hold"/>
                                        <p:tgtEl>
                                          <p:spTgt spid="68">
                                            <p:txEl>
                                              <p:pRg st="0" end="0"/>
                                            </p:txEl>
                                          </p:spTgt>
                                        </p:tgtEl>
                                        <p:attrNameLst>
                                          <p:attrName>ppt_x</p:attrName>
                                        </p:attrNameLst>
                                      </p:cBhvr>
                                      <p:tavLst>
                                        <p:tav tm="0">
                                          <p:val>
                                            <p:strVal val="#ppt_x"/>
                                          </p:val>
                                        </p:tav>
                                        <p:tav tm="100000">
                                          <p:val>
                                            <p:strVal val="#ppt_x"/>
                                          </p:val>
                                        </p:tav>
                                      </p:tavLst>
                                    </p:anim>
                                    <p:anim calcmode="lin" valueType="num">
                                      <p:cBhvr>
                                        <p:cTn id="44" dur="250" fill="hold"/>
                                        <p:tgtEl>
                                          <p:spTgt spid="68">
                                            <p:txEl>
                                              <p:pRg st="0" end="0"/>
                                            </p:txEl>
                                          </p:spTgt>
                                        </p:tgtEl>
                                        <p:attrNameLst>
                                          <p:attrName>ppt_y</p:attrName>
                                        </p:attrNameLst>
                                      </p:cBhvr>
                                      <p:tavLst>
                                        <p:tav tm="0">
                                          <p:val>
                                            <p:strVal val="#ppt_y-.1"/>
                                          </p:val>
                                        </p:tav>
                                        <p:tav tm="100000">
                                          <p:val>
                                            <p:strVal val="#ppt_y"/>
                                          </p:val>
                                        </p:tav>
                                      </p:tavLst>
                                    </p:anim>
                                  </p:childTnLst>
                                </p:cTn>
                              </p:par>
                            </p:childTnLst>
                          </p:cTn>
                        </p:par>
                        <p:par>
                          <p:cTn id="45" fill="hold">
                            <p:stCondLst>
                              <p:cond delay="750"/>
                            </p:stCondLst>
                            <p:childTnLst>
                              <p:par>
                                <p:cTn id="46" presetID="47" presetClass="entr" presetSubtype="0" fill="hold" grpId="0" nodeType="afterEffect">
                                  <p:stCondLst>
                                    <p:cond delay="0"/>
                                  </p:stCondLst>
                                  <p:childTnLst>
                                    <p:set>
                                      <p:cBhvr>
                                        <p:cTn id="47" dur="1" fill="hold">
                                          <p:stCondLst>
                                            <p:cond delay="0"/>
                                          </p:stCondLst>
                                        </p:cTn>
                                        <p:tgtEl>
                                          <p:spTgt spid="71">
                                            <p:bg/>
                                          </p:spTgt>
                                        </p:tgtEl>
                                        <p:attrNameLst>
                                          <p:attrName>style.visibility</p:attrName>
                                        </p:attrNameLst>
                                      </p:cBhvr>
                                      <p:to>
                                        <p:strVal val="visible"/>
                                      </p:to>
                                    </p:set>
                                    <p:animEffect transition="in" filter="fade">
                                      <p:cBhvr>
                                        <p:cTn id="48" dur="250"/>
                                        <p:tgtEl>
                                          <p:spTgt spid="71">
                                            <p:bg/>
                                          </p:spTgt>
                                        </p:tgtEl>
                                      </p:cBhvr>
                                    </p:animEffect>
                                    <p:anim calcmode="lin" valueType="num">
                                      <p:cBhvr>
                                        <p:cTn id="49" dur="250" fill="hold"/>
                                        <p:tgtEl>
                                          <p:spTgt spid="71">
                                            <p:bg/>
                                          </p:spTgt>
                                        </p:tgtEl>
                                        <p:attrNameLst>
                                          <p:attrName>ppt_x</p:attrName>
                                        </p:attrNameLst>
                                      </p:cBhvr>
                                      <p:tavLst>
                                        <p:tav tm="0">
                                          <p:val>
                                            <p:strVal val="#ppt_x"/>
                                          </p:val>
                                        </p:tav>
                                        <p:tav tm="100000">
                                          <p:val>
                                            <p:strVal val="#ppt_x"/>
                                          </p:val>
                                        </p:tav>
                                      </p:tavLst>
                                    </p:anim>
                                    <p:anim calcmode="lin" valueType="num">
                                      <p:cBhvr>
                                        <p:cTn id="50" dur="250" fill="hold"/>
                                        <p:tgtEl>
                                          <p:spTgt spid="71">
                                            <p:bg/>
                                          </p:spTgt>
                                        </p:tgtEl>
                                        <p:attrNameLst>
                                          <p:attrName>ppt_y</p:attrName>
                                        </p:attrNameLst>
                                      </p:cBhvr>
                                      <p:tavLst>
                                        <p:tav tm="0">
                                          <p:val>
                                            <p:strVal val="#ppt_y-.1"/>
                                          </p:val>
                                        </p:tav>
                                        <p:tav tm="100000">
                                          <p:val>
                                            <p:strVal val="#ppt_y"/>
                                          </p:val>
                                        </p:tav>
                                      </p:tavLst>
                                    </p:anim>
                                  </p:childTnLst>
                                </p:cTn>
                              </p:par>
                              <p:par>
                                <p:cTn id="51" presetID="47" presetClass="entr" presetSubtype="0" fill="hold" grpId="0" nodeType="withEffect">
                                  <p:stCondLst>
                                    <p:cond delay="0"/>
                                  </p:stCondLst>
                                  <p:childTnLst>
                                    <p:set>
                                      <p:cBhvr>
                                        <p:cTn id="52" dur="1" fill="hold">
                                          <p:stCondLst>
                                            <p:cond delay="0"/>
                                          </p:stCondLst>
                                        </p:cTn>
                                        <p:tgtEl>
                                          <p:spTgt spid="71">
                                            <p:txEl>
                                              <p:pRg st="0" end="0"/>
                                            </p:txEl>
                                          </p:spTgt>
                                        </p:tgtEl>
                                        <p:attrNameLst>
                                          <p:attrName>style.visibility</p:attrName>
                                        </p:attrNameLst>
                                      </p:cBhvr>
                                      <p:to>
                                        <p:strVal val="visible"/>
                                      </p:to>
                                    </p:set>
                                    <p:animEffect transition="in" filter="fade">
                                      <p:cBhvr>
                                        <p:cTn id="53" dur="250"/>
                                        <p:tgtEl>
                                          <p:spTgt spid="71">
                                            <p:txEl>
                                              <p:pRg st="0" end="0"/>
                                            </p:txEl>
                                          </p:spTgt>
                                        </p:tgtEl>
                                      </p:cBhvr>
                                    </p:animEffect>
                                    <p:anim calcmode="lin" valueType="num">
                                      <p:cBhvr>
                                        <p:cTn id="54" dur="250" fill="hold"/>
                                        <p:tgtEl>
                                          <p:spTgt spid="71">
                                            <p:txEl>
                                              <p:pRg st="0" end="0"/>
                                            </p:txEl>
                                          </p:spTgt>
                                        </p:tgtEl>
                                        <p:attrNameLst>
                                          <p:attrName>ppt_x</p:attrName>
                                        </p:attrNameLst>
                                      </p:cBhvr>
                                      <p:tavLst>
                                        <p:tav tm="0">
                                          <p:val>
                                            <p:strVal val="#ppt_x"/>
                                          </p:val>
                                        </p:tav>
                                        <p:tav tm="100000">
                                          <p:val>
                                            <p:strVal val="#ppt_x"/>
                                          </p:val>
                                        </p:tav>
                                      </p:tavLst>
                                    </p:anim>
                                    <p:anim calcmode="lin" valueType="num">
                                      <p:cBhvr>
                                        <p:cTn id="55" dur="250" fill="hold"/>
                                        <p:tgtEl>
                                          <p:spTgt spid="71">
                                            <p:txEl>
                                              <p:pRg st="0" end="0"/>
                                            </p:txEl>
                                          </p:spTgt>
                                        </p:tgtEl>
                                        <p:attrNameLst>
                                          <p:attrName>ppt_y</p:attrName>
                                        </p:attrNameLst>
                                      </p:cBhvr>
                                      <p:tavLst>
                                        <p:tav tm="0">
                                          <p:val>
                                            <p:strVal val="#ppt_y-.1"/>
                                          </p:val>
                                        </p:tav>
                                        <p:tav tm="100000">
                                          <p:val>
                                            <p:strVal val="#ppt_y"/>
                                          </p:val>
                                        </p:tav>
                                      </p:tavLst>
                                    </p:anim>
                                  </p:childTnLst>
                                </p:cTn>
                              </p:par>
                            </p:childTnLst>
                          </p:cTn>
                        </p:par>
                        <p:par>
                          <p:cTn id="56" fill="hold">
                            <p:stCondLst>
                              <p:cond delay="1000"/>
                            </p:stCondLst>
                            <p:childTnLst>
                              <p:par>
                                <p:cTn id="57" presetID="47" presetClass="entr" presetSubtype="0" fill="hold" grpId="0" nodeType="afterEffect">
                                  <p:stCondLst>
                                    <p:cond delay="0"/>
                                  </p:stCondLst>
                                  <p:childTnLst>
                                    <p:set>
                                      <p:cBhvr>
                                        <p:cTn id="58" dur="1" fill="hold">
                                          <p:stCondLst>
                                            <p:cond delay="0"/>
                                          </p:stCondLst>
                                        </p:cTn>
                                        <p:tgtEl>
                                          <p:spTgt spid="72">
                                            <p:bg/>
                                          </p:spTgt>
                                        </p:tgtEl>
                                        <p:attrNameLst>
                                          <p:attrName>style.visibility</p:attrName>
                                        </p:attrNameLst>
                                      </p:cBhvr>
                                      <p:to>
                                        <p:strVal val="visible"/>
                                      </p:to>
                                    </p:set>
                                    <p:animEffect transition="in" filter="fade">
                                      <p:cBhvr>
                                        <p:cTn id="59" dur="250"/>
                                        <p:tgtEl>
                                          <p:spTgt spid="72">
                                            <p:bg/>
                                          </p:spTgt>
                                        </p:tgtEl>
                                      </p:cBhvr>
                                    </p:animEffect>
                                    <p:anim calcmode="lin" valueType="num">
                                      <p:cBhvr>
                                        <p:cTn id="60" dur="250" fill="hold"/>
                                        <p:tgtEl>
                                          <p:spTgt spid="72">
                                            <p:bg/>
                                          </p:spTgt>
                                        </p:tgtEl>
                                        <p:attrNameLst>
                                          <p:attrName>ppt_x</p:attrName>
                                        </p:attrNameLst>
                                      </p:cBhvr>
                                      <p:tavLst>
                                        <p:tav tm="0">
                                          <p:val>
                                            <p:strVal val="#ppt_x"/>
                                          </p:val>
                                        </p:tav>
                                        <p:tav tm="100000">
                                          <p:val>
                                            <p:strVal val="#ppt_x"/>
                                          </p:val>
                                        </p:tav>
                                      </p:tavLst>
                                    </p:anim>
                                    <p:anim calcmode="lin" valueType="num">
                                      <p:cBhvr>
                                        <p:cTn id="61" dur="250" fill="hold"/>
                                        <p:tgtEl>
                                          <p:spTgt spid="72">
                                            <p:bg/>
                                          </p:spTgt>
                                        </p:tgtEl>
                                        <p:attrNameLst>
                                          <p:attrName>ppt_y</p:attrName>
                                        </p:attrNameLst>
                                      </p:cBhvr>
                                      <p:tavLst>
                                        <p:tav tm="0">
                                          <p:val>
                                            <p:strVal val="#ppt_y-.1"/>
                                          </p:val>
                                        </p:tav>
                                        <p:tav tm="100000">
                                          <p:val>
                                            <p:strVal val="#ppt_y"/>
                                          </p:val>
                                        </p:tav>
                                      </p:tavLst>
                                    </p:anim>
                                  </p:childTnLst>
                                </p:cTn>
                              </p:par>
                              <p:par>
                                <p:cTn id="62" presetID="47" presetClass="entr" presetSubtype="0" fill="hold" grpId="0" nodeType="withEffect">
                                  <p:stCondLst>
                                    <p:cond delay="0"/>
                                  </p:stCondLst>
                                  <p:childTnLst>
                                    <p:set>
                                      <p:cBhvr>
                                        <p:cTn id="63" dur="1" fill="hold">
                                          <p:stCondLst>
                                            <p:cond delay="0"/>
                                          </p:stCondLst>
                                        </p:cTn>
                                        <p:tgtEl>
                                          <p:spTgt spid="72">
                                            <p:txEl>
                                              <p:pRg st="0" end="0"/>
                                            </p:txEl>
                                          </p:spTgt>
                                        </p:tgtEl>
                                        <p:attrNameLst>
                                          <p:attrName>style.visibility</p:attrName>
                                        </p:attrNameLst>
                                      </p:cBhvr>
                                      <p:to>
                                        <p:strVal val="visible"/>
                                      </p:to>
                                    </p:set>
                                    <p:animEffect transition="in" filter="fade">
                                      <p:cBhvr>
                                        <p:cTn id="64" dur="250"/>
                                        <p:tgtEl>
                                          <p:spTgt spid="72">
                                            <p:txEl>
                                              <p:pRg st="0" end="0"/>
                                            </p:txEl>
                                          </p:spTgt>
                                        </p:tgtEl>
                                      </p:cBhvr>
                                    </p:animEffect>
                                    <p:anim calcmode="lin" valueType="num">
                                      <p:cBhvr>
                                        <p:cTn id="65" dur="250" fill="hold"/>
                                        <p:tgtEl>
                                          <p:spTgt spid="72">
                                            <p:txEl>
                                              <p:pRg st="0" end="0"/>
                                            </p:txEl>
                                          </p:spTgt>
                                        </p:tgtEl>
                                        <p:attrNameLst>
                                          <p:attrName>ppt_x</p:attrName>
                                        </p:attrNameLst>
                                      </p:cBhvr>
                                      <p:tavLst>
                                        <p:tav tm="0">
                                          <p:val>
                                            <p:strVal val="#ppt_x"/>
                                          </p:val>
                                        </p:tav>
                                        <p:tav tm="100000">
                                          <p:val>
                                            <p:strVal val="#ppt_x"/>
                                          </p:val>
                                        </p:tav>
                                      </p:tavLst>
                                    </p:anim>
                                    <p:anim calcmode="lin" valueType="num">
                                      <p:cBhvr>
                                        <p:cTn id="66" dur="250" fill="hold"/>
                                        <p:tgtEl>
                                          <p:spTgt spid="7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2" presetClass="entr" presetSubtype="1" fill="hold" nodeType="clickEffect">
                                  <p:stCondLst>
                                    <p:cond delay="0"/>
                                  </p:stCondLst>
                                  <p:childTnLst>
                                    <p:set>
                                      <p:cBhvr>
                                        <p:cTn id="70" dur="1" fill="hold">
                                          <p:stCondLst>
                                            <p:cond delay="0"/>
                                          </p:stCondLst>
                                        </p:cTn>
                                        <p:tgtEl>
                                          <p:spTgt spid="79"/>
                                        </p:tgtEl>
                                        <p:attrNameLst>
                                          <p:attrName>style.visibility</p:attrName>
                                        </p:attrNameLst>
                                      </p:cBhvr>
                                      <p:to>
                                        <p:strVal val="visible"/>
                                      </p:to>
                                    </p:set>
                                    <p:animEffect transition="in" filter="wipe(up)">
                                      <p:cBhvr>
                                        <p:cTn id="71" dur="250"/>
                                        <p:tgtEl>
                                          <p:spTgt spid="79"/>
                                        </p:tgtEl>
                                      </p:cBhvr>
                                    </p:animEffect>
                                  </p:childTnLst>
                                </p:cTn>
                              </p:par>
                              <p:par>
                                <p:cTn id="72" presetID="22" presetClass="entr" presetSubtype="1" fill="hold" grpId="0" nodeType="withEffect">
                                  <p:stCondLst>
                                    <p:cond delay="0"/>
                                  </p:stCondLst>
                                  <p:childTnLst>
                                    <p:set>
                                      <p:cBhvr>
                                        <p:cTn id="73" dur="1" fill="hold">
                                          <p:stCondLst>
                                            <p:cond delay="0"/>
                                          </p:stCondLst>
                                        </p:cTn>
                                        <p:tgtEl>
                                          <p:spTgt spid="73"/>
                                        </p:tgtEl>
                                        <p:attrNameLst>
                                          <p:attrName>style.visibility</p:attrName>
                                        </p:attrNameLst>
                                      </p:cBhvr>
                                      <p:to>
                                        <p:strVal val="visible"/>
                                      </p:to>
                                    </p:set>
                                    <p:animEffect transition="in" filter="wipe(up)">
                                      <p:cBhvr>
                                        <p:cTn id="74" dur="250"/>
                                        <p:tgtEl>
                                          <p:spTgt spid="73"/>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1" fill="hold" nodeType="clickEffect">
                                  <p:stCondLst>
                                    <p:cond delay="0"/>
                                  </p:stCondLst>
                                  <p:childTnLst>
                                    <p:set>
                                      <p:cBhvr>
                                        <p:cTn id="78" dur="1" fill="hold">
                                          <p:stCondLst>
                                            <p:cond delay="0"/>
                                          </p:stCondLst>
                                        </p:cTn>
                                        <p:tgtEl>
                                          <p:spTgt spid="80"/>
                                        </p:tgtEl>
                                        <p:attrNameLst>
                                          <p:attrName>style.visibility</p:attrName>
                                        </p:attrNameLst>
                                      </p:cBhvr>
                                      <p:to>
                                        <p:strVal val="visible"/>
                                      </p:to>
                                    </p:set>
                                    <p:animEffect transition="in" filter="wipe(up)">
                                      <p:cBhvr>
                                        <p:cTn id="79" dur="250"/>
                                        <p:tgtEl>
                                          <p:spTgt spid="80"/>
                                        </p:tgtEl>
                                      </p:cBhvr>
                                    </p:animEffect>
                                  </p:childTnLst>
                                </p:cTn>
                              </p:par>
                              <p:par>
                                <p:cTn id="80" presetID="22" presetClass="entr" presetSubtype="1" fill="hold" grpId="0" nodeType="withEffect">
                                  <p:stCondLst>
                                    <p:cond delay="0"/>
                                  </p:stCondLst>
                                  <p:childTnLst>
                                    <p:set>
                                      <p:cBhvr>
                                        <p:cTn id="81" dur="1" fill="hold">
                                          <p:stCondLst>
                                            <p:cond delay="0"/>
                                          </p:stCondLst>
                                        </p:cTn>
                                        <p:tgtEl>
                                          <p:spTgt spid="77"/>
                                        </p:tgtEl>
                                        <p:attrNameLst>
                                          <p:attrName>style.visibility</p:attrName>
                                        </p:attrNameLst>
                                      </p:cBhvr>
                                      <p:to>
                                        <p:strVal val="visible"/>
                                      </p:to>
                                    </p:set>
                                    <p:animEffect transition="in" filter="wipe(up)">
                                      <p:cBhvr>
                                        <p:cTn id="82" dur="250"/>
                                        <p:tgtEl>
                                          <p:spTgt spid="77"/>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1" fill="hold" nodeType="clickEffect">
                                  <p:stCondLst>
                                    <p:cond delay="0"/>
                                  </p:stCondLst>
                                  <p:childTnLst>
                                    <p:set>
                                      <p:cBhvr>
                                        <p:cTn id="86" dur="1" fill="hold">
                                          <p:stCondLst>
                                            <p:cond delay="0"/>
                                          </p:stCondLst>
                                        </p:cTn>
                                        <p:tgtEl>
                                          <p:spTgt spid="84"/>
                                        </p:tgtEl>
                                        <p:attrNameLst>
                                          <p:attrName>style.visibility</p:attrName>
                                        </p:attrNameLst>
                                      </p:cBhvr>
                                      <p:to>
                                        <p:strVal val="visible"/>
                                      </p:to>
                                    </p:set>
                                    <p:animEffect transition="in" filter="wipe(up)">
                                      <p:cBhvr>
                                        <p:cTn id="87" dur="250"/>
                                        <p:tgtEl>
                                          <p:spTgt spid="84"/>
                                        </p:tgtEl>
                                      </p:cBhvr>
                                    </p:animEffect>
                                  </p:childTnLst>
                                </p:cTn>
                              </p:par>
                              <p:par>
                                <p:cTn id="88" presetID="22" presetClass="entr" presetSubtype="1" fill="hold" grpId="0" nodeType="withEffect">
                                  <p:stCondLst>
                                    <p:cond delay="0"/>
                                  </p:stCondLst>
                                  <p:childTnLst>
                                    <p:set>
                                      <p:cBhvr>
                                        <p:cTn id="89" dur="1" fill="hold">
                                          <p:stCondLst>
                                            <p:cond delay="0"/>
                                          </p:stCondLst>
                                        </p:cTn>
                                        <p:tgtEl>
                                          <p:spTgt spid="76"/>
                                        </p:tgtEl>
                                        <p:attrNameLst>
                                          <p:attrName>style.visibility</p:attrName>
                                        </p:attrNameLst>
                                      </p:cBhvr>
                                      <p:to>
                                        <p:strVal val="visible"/>
                                      </p:to>
                                    </p:set>
                                    <p:animEffect transition="in" filter="wipe(up)">
                                      <p:cBhvr>
                                        <p:cTn id="90" dur="250"/>
                                        <p:tgtEl>
                                          <p:spTgt spid="76"/>
                                        </p:tgtEl>
                                      </p:cBhvr>
                                    </p:animEffect>
                                  </p:childTnLst>
                                </p:cTn>
                              </p:par>
                            </p:childTnLst>
                          </p:cTn>
                        </p:par>
                      </p:childTnLst>
                    </p:cTn>
                  </p:par>
                  <p:par>
                    <p:cTn id="91" fill="hold">
                      <p:stCondLst>
                        <p:cond delay="indefinite"/>
                      </p:stCondLst>
                      <p:childTnLst>
                        <p:par>
                          <p:cTn id="92" fill="hold">
                            <p:stCondLst>
                              <p:cond delay="0"/>
                            </p:stCondLst>
                            <p:childTnLst>
                              <p:par>
                                <p:cTn id="93" presetID="22" presetClass="entr" presetSubtype="1" fill="hold" nodeType="clickEffect">
                                  <p:stCondLst>
                                    <p:cond delay="0"/>
                                  </p:stCondLst>
                                  <p:childTnLst>
                                    <p:set>
                                      <p:cBhvr>
                                        <p:cTn id="94" dur="1" fill="hold">
                                          <p:stCondLst>
                                            <p:cond delay="0"/>
                                          </p:stCondLst>
                                        </p:cTn>
                                        <p:tgtEl>
                                          <p:spTgt spid="86"/>
                                        </p:tgtEl>
                                        <p:attrNameLst>
                                          <p:attrName>style.visibility</p:attrName>
                                        </p:attrNameLst>
                                      </p:cBhvr>
                                      <p:to>
                                        <p:strVal val="visible"/>
                                      </p:to>
                                    </p:set>
                                    <p:animEffect transition="in" filter="wipe(up)">
                                      <p:cBhvr>
                                        <p:cTn id="95" dur="250"/>
                                        <p:tgtEl>
                                          <p:spTgt spid="86"/>
                                        </p:tgtEl>
                                      </p:cBhvr>
                                    </p:animEffect>
                                  </p:childTnLst>
                                </p:cTn>
                              </p:par>
                              <p:par>
                                <p:cTn id="96" presetID="22" presetClass="entr" presetSubtype="1" fill="hold" grpId="0" nodeType="withEffect">
                                  <p:stCondLst>
                                    <p:cond delay="0"/>
                                  </p:stCondLst>
                                  <p:childTnLst>
                                    <p:set>
                                      <p:cBhvr>
                                        <p:cTn id="97" dur="1" fill="hold">
                                          <p:stCondLst>
                                            <p:cond delay="0"/>
                                          </p:stCondLst>
                                        </p:cTn>
                                        <p:tgtEl>
                                          <p:spTgt spid="75"/>
                                        </p:tgtEl>
                                        <p:attrNameLst>
                                          <p:attrName>style.visibility</p:attrName>
                                        </p:attrNameLst>
                                      </p:cBhvr>
                                      <p:to>
                                        <p:strVal val="visible"/>
                                      </p:to>
                                    </p:set>
                                    <p:animEffect transition="in" filter="wipe(up)">
                                      <p:cBhvr>
                                        <p:cTn id="98" dur="250"/>
                                        <p:tgtEl>
                                          <p:spTgt spid="75"/>
                                        </p:tgtEl>
                                      </p:cBhvr>
                                    </p:animEffect>
                                  </p:childTnLst>
                                </p:cTn>
                              </p:par>
                            </p:childTnLst>
                          </p:cTn>
                        </p:par>
                      </p:childTnLst>
                    </p:cTn>
                  </p:par>
                  <p:par>
                    <p:cTn id="99" fill="hold">
                      <p:stCondLst>
                        <p:cond delay="indefinite"/>
                      </p:stCondLst>
                      <p:childTnLst>
                        <p:par>
                          <p:cTn id="100" fill="hold">
                            <p:stCondLst>
                              <p:cond delay="0"/>
                            </p:stCondLst>
                            <p:childTnLst>
                              <p:par>
                                <p:cTn id="101" presetID="22" presetClass="entr" presetSubtype="1" fill="hold" nodeType="clickEffect">
                                  <p:stCondLst>
                                    <p:cond delay="0"/>
                                  </p:stCondLst>
                                  <p:childTnLst>
                                    <p:set>
                                      <p:cBhvr>
                                        <p:cTn id="102" dur="1" fill="hold">
                                          <p:stCondLst>
                                            <p:cond delay="0"/>
                                          </p:stCondLst>
                                        </p:cTn>
                                        <p:tgtEl>
                                          <p:spTgt spid="87"/>
                                        </p:tgtEl>
                                        <p:attrNameLst>
                                          <p:attrName>style.visibility</p:attrName>
                                        </p:attrNameLst>
                                      </p:cBhvr>
                                      <p:to>
                                        <p:strVal val="visible"/>
                                      </p:to>
                                    </p:set>
                                    <p:animEffect transition="in" filter="wipe(up)">
                                      <p:cBhvr>
                                        <p:cTn id="103" dur="250"/>
                                        <p:tgtEl>
                                          <p:spTgt spid="87"/>
                                        </p:tgtEl>
                                      </p:cBhvr>
                                    </p:animEffect>
                                  </p:childTnLst>
                                </p:cTn>
                              </p:par>
                              <p:par>
                                <p:cTn id="104" presetID="22" presetClass="entr" presetSubtype="1" fill="hold" grpId="0" nodeType="withEffect">
                                  <p:stCondLst>
                                    <p:cond delay="0"/>
                                  </p:stCondLst>
                                  <p:childTnLst>
                                    <p:set>
                                      <p:cBhvr>
                                        <p:cTn id="105" dur="1" fill="hold">
                                          <p:stCondLst>
                                            <p:cond delay="0"/>
                                          </p:stCondLst>
                                        </p:cTn>
                                        <p:tgtEl>
                                          <p:spTgt spid="78"/>
                                        </p:tgtEl>
                                        <p:attrNameLst>
                                          <p:attrName>style.visibility</p:attrName>
                                        </p:attrNameLst>
                                      </p:cBhvr>
                                      <p:to>
                                        <p:strVal val="visible"/>
                                      </p:to>
                                    </p:set>
                                    <p:animEffect transition="in" filter="wipe(up)">
                                      <p:cBhvr>
                                        <p:cTn id="106" dur="25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build="p" animBg="1"/>
      <p:bldP spid="67" grpId="0" uiExpand="1" build="p" animBg="1"/>
      <p:bldP spid="68" grpId="0" build="p" animBg="1"/>
      <p:bldP spid="71" grpId="0" build="p" animBg="1"/>
      <p:bldP spid="72" grpId="0" build="p" animBg="1"/>
      <p:bldP spid="73" grpId="0" animBg="1"/>
      <p:bldP spid="75" grpId="0" animBg="1"/>
      <p:bldP spid="76" grpId="0" animBg="1"/>
      <p:bldP spid="77" grpId="0" animBg="1"/>
      <p:bldP spid="7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p:cNvSpPr/>
          <p:nvPr/>
        </p:nvSpPr>
        <p:spPr>
          <a:xfrm rot="10800000">
            <a:off x="144038" y="6315373"/>
            <a:ext cx="412293" cy="338554"/>
          </a:xfrm>
          <a:prstGeom prst="rect">
            <a:avLst/>
          </a:prstGeom>
        </p:spPr>
        <p:txBody>
          <a:bodyPr wrap="none">
            <a:spAutoFit/>
          </a:bodyPr>
          <a:lstStyle>
            <a:defPPr>
              <a:defRPr lang="en-US"/>
            </a:defPPr>
            <a:lvl1pPr marL="0" algn="l" defTabSz="914340" rtl="0" eaLnBrk="1" latinLnBrk="0" hangingPunct="1">
              <a:defRPr sz="1800" kern="1200">
                <a:solidFill>
                  <a:schemeClr val="tx1"/>
                </a:solidFill>
                <a:latin typeface="+mn-lt"/>
                <a:ea typeface="+mn-ea"/>
                <a:cs typeface="+mn-cs"/>
              </a:defRPr>
            </a:lvl1pPr>
            <a:lvl2pPr marL="457170"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1" algn="l" defTabSz="914340" rtl="0" eaLnBrk="1" latinLnBrk="0" hangingPunct="1">
              <a:defRPr sz="1800" kern="1200">
                <a:solidFill>
                  <a:schemeClr val="tx1"/>
                </a:solidFill>
                <a:latin typeface="+mn-lt"/>
                <a:ea typeface="+mn-ea"/>
                <a:cs typeface="+mn-cs"/>
              </a:defRPr>
            </a:lvl7pPr>
            <a:lvl8pPr marL="3200193"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a:lstStyle>
          <a:p>
            <a:pPr algn="ctr"/>
            <a:r>
              <a:rPr lang="en-AU" sz="1600" dirty="0">
                <a:solidFill>
                  <a:schemeClr val="bg1"/>
                </a:solidFill>
                <a:latin typeface="Lato"/>
              </a:rPr>
              <a:t>15</a:t>
            </a:r>
          </a:p>
        </p:txBody>
      </p:sp>
      <p:sp>
        <p:nvSpPr>
          <p:cNvPr id="2" name="Espace réservé du numéro de diapositive 1"/>
          <p:cNvSpPr>
            <a:spLocks noGrp="1"/>
          </p:cNvSpPr>
          <p:nvPr>
            <p:ph type="sldNum" sz="quarter" idx="12"/>
          </p:nvPr>
        </p:nvSpPr>
        <p:spPr>
          <a:xfrm>
            <a:off x="9280997" y="6289289"/>
            <a:ext cx="2743200" cy="365125"/>
          </a:xfrm>
        </p:spPr>
        <p:txBody>
          <a:bodyPr vert="horz" lIns="91440" tIns="45720" rIns="91440" bIns="45720" rtlCol="0" anchor="ctr"/>
          <a:lstStyle/>
          <a:p>
            <a:r>
              <a:rPr lang="fr-FR" sz="1600" dirty="0">
                <a:solidFill>
                  <a:schemeClr val="bg1"/>
                </a:solidFill>
                <a:latin typeface="Lato"/>
              </a:rPr>
              <a:t>6</a:t>
            </a:r>
          </a:p>
        </p:txBody>
      </p:sp>
      <p:sp>
        <p:nvSpPr>
          <p:cNvPr id="34" name="ZoneTexte 53">
            <a:extLst>
              <a:ext uri="{FF2B5EF4-FFF2-40B4-BE49-F238E27FC236}">
                <a16:creationId xmlns:a16="http://schemas.microsoft.com/office/drawing/2014/main" id="{D8885FCA-35FC-4F99-ADC9-3760D0B70E98}"/>
              </a:ext>
            </a:extLst>
          </p:cNvPr>
          <p:cNvSpPr txBox="1"/>
          <p:nvPr/>
        </p:nvSpPr>
        <p:spPr>
          <a:xfrm>
            <a:off x="390860" y="74183"/>
            <a:ext cx="1821107"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Environnement </a:t>
            </a:r>
          </a:p>
          <a:p>
            <a:r>
              <a:rPr lang="it-IT" dirty="0"/>
              <a:t>du projet</a:t>
            </a:r>
            <a:endParaRPr lang="fr-FR" dirty="0"/>
          </a:p>
        </p:txBody>
      </p:sp>
      <p:sp>
        <p:nvSpPr>
          <p:cNvPr id="35" name="ZoneTexte 54">
            <a:extLst>
              <a:ext uri="{FF2B5EF4-FFF2-40B4-BE49-F238E27FC236}">
                <a16:creationId xmlns:a16="http://schemas.microsoft.com/office/drawing/2014/main" id="{075A0EF2-40C2-48B5-9CBE-61F1E4B47A52}"/>
              </a:ext>
            </a:extLst>
          </p:cNvPr>
          <p:cNvSpPr txBox="1"/>
          <p:nvPr/>
        </p:nvSpPr>
        <p:spPr>
          <a:xfrm>
            <a:off x="6433678" y="74184"/>
            <a:ext cx="1784587" cy="646331"/>
          </a:xfrm>
          <a:prstGeom prst="rect">
            <a:avLst/>
          </a:prstGeom>
          <a:solidFill>
            <a:schemeClr val="bg2"/>
          </a:solidFill>
        </p:spPr>
        <p:txBody>
          <a:bodyPr wrap="square" rtlCol="0">
            <a:spAutoFit/>
          </a:bodyPr>
          <a:lstStyle>
            <a:defPPr>
              <a:defRPr lang="fr-FR"/>
            </a:defPPr>
            <a:lvl1pPr algn="ctr">
              <a:defRPr sz="2000">
                <a:latin typeface="Lato  "/>
              </a:defRPr>
            </a:lvl1pPr>
          </a:lstStyle>
          <a:p>
            <a:r>
              <a:rPr lang="it-IT" sz="1800" dirty="0"/>
              <a:t>Mise en oeuvre du projet</a:t>
            </a:r>
            <a:endParaRPr lang="fr-FR" sz="1800" dirty="0"/>
          </a:p>
        </p:txBody>
      </p:sp>
      <p:sp>
        <p:nvSpPr>
          <p:cNvPr id="36" name="ZoneTexte 55">
            <a:extLst>
              <a:ext uri="{FF2B5EF4-FFF2-40B4-BE49-F238E27FC236}">
                <a16:creationId xmlns:a16="http://schemas.microsoft.com/office/drawing/2014/main" id="{AA7A650D-08A4-430F-9BA3-68642D5C20D7}"/>
              </a:ext>
            </a:extLst>
          </p:cNvPr>
          <p:cNvSpPr txBox="1"/>
          <p:nvPr/>
        </p:nvSpPr>
        <p:spPr>
          <a:xfrm>
            <a:off x="9319488" y="74730"/>
            <a:ext cx="1752879" cy="646331"/>
          </a:xfrm>
          <a:prstGeom prst="rect">
            <a:avLst/>
          </a:prstGeom>
          <a:solidFill>
            <a:schemeClr val="bg2"/>
          </a:solidFill>
        </p:spPr>
        <p:txBody>
          <a:bodyPr wrap="square" rtlCol="0">
            <a:spAutoFit/>
          </a:bodyPr>
          <a:lstStyle/>
          <a:p>
            <a:pPr algn="ctr"/>
            <a:r>
              <a:rPr lang="it-IT" dirty="0">
                <a:latin typeface="Lato  "/>
              </a:rPr>
              <a:t>Conclusion et</a:t>
            </a:r>
          </a:p>
          <a:p>
            <a:pPr algn="ctr"/>
            <a:r>
              <a:rPr lang="it-IT" dirty="0">
                <a:latin typeface="Lato  "/>
              </a:rPr>
              <a:t> Perspectives</a:t>
            </a:r>
            <a:endParaRPr lang="fr-FR" dirty="0">
              <a:latin typeface="Lato  "/>
            </a:endParaRPr>
          </a:p>
        </p:txBody>
      </p:sp>
      <p:cxnSp>
        <p:nvCxnSpPr>
          <p:cNvPr id="37" name="Connecteur droit 56">
            <a:extLst>
              <a:ext uri="{FF2B5EF4-FFF2-40B4-BE49-F238E27FC236}">
                <a16:creationId xmlns:a16="http://schemas.microsoft.com/office/drawing/2014/main" id="{6BC9D870-64CF-4086-8165-248FB9DF834E}"/>
              </a:ext>
            </a:extLst>
          </p:cNvPr>
          <p:cNvCxnSpPr>
            <a:cxnSpLocks/>
          </p:cNvCxnSpPr>
          <p:nvPr/>
        </p:nvCxnSpPr>
        <p:spPr>
          <a:xfrm>
            <a:off x="11077903" y="410171"/>
            <a:ext cx="793875"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38" name="Connecteur droit 57">
            <a:extLst>
              <a:ext uri="{FF2B5EF4-FFF2-40B4-BE49-F238E27FC236}">
                <a16:creationId xmlns:a16="http://schemas.microsoft.com/office/drawing/2014/main" id="{886A79F6-775A-4F22-9876-760E63F856F8}"/>
              </a:ext>
            </a:extLst>
          </p:cNvPr>
          <p:cNvCxnSpPr>
            <a:cxnSpLocks/>
            <a:stCxn id="34" idx="3"/>
            <a:endCxn id="44" idx="1"/>
          </p:cNvCxnSpPr>
          <p:nvPr/>
        </p:nvCxnSpPr>
        <p:spPr>
          <a:xfrm>
            <a:off x="2211967" y="397349"/>
            <a:ext cx="1101223"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39" name="Connecteur droit 58">
            <a:extLst>
              <a:ext uri="{FF2B5EF4-FFF2-40B4-BE49-F238E27FC236}">
                <a16:creationId xmlns:a16="http://schemas.microsoft.com/office/drawing/2014/main" id="{07495931-39A8-4586-8587-DFE560C22457}"/>
              </a:ext>
            </a:extLst>
          </p:cNvPr>
          <p:cNvCxnSpPr>
            <a:cxnSpLocks/>
            <a:stCxn id="35" idx="3"/>
            <a:endCxn id="36" idx="1"/>
          </p:cNvCxnSpPr>
          <p:nvPr/>
        </p:nvCxnSpPr>
        <p:spPr>
          <a:xfrm>
            <a:off x="8218265" y="397350"/>
            <a:ext cx="1101223" cy="546"/>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40" name="Group 3">
            <a:extLst>
              <a:ext uri="{FF2B5EF4-FFF2-40B4-BE49-F238E27FC236}">
                <a16:creationId xmlns:a16="http://schemas.microsoft.com/office/drawing/2014/main" id="{90466E8F-EAEA-4188-BAB4-CDB3D5791868}"/>
              </a:ext>
            </a:extLst>
          </p:cNvPr>
          <p:cNvGrpSpPr/>
          <p:nvPr/>
        </p:nvGrpSpPr>
        <p:grpSpPr>
          <a:xfrm rot="10800000">
            <a:off x="11632841" y="410171"/>
            <a:ext cx="504000" cy="6352766"/>
            <a:chOff x="-5771165" y="1295207"/>
            <a:chExt cx="504000" cy="6352766"/>
          </a:xfrm>
          <a:solidFill>
            <a:srgbClr val="020088"/>
          </a:solidFill>
        </p:grpSpPr>
        <p:cxnSp>
          <p:nvCxnSpPr>
            <p:cNvPr id="41" name="Straight Connector 9">
              <a:extLst>
                <a:ext uri="{FF2B5EF4-FFF2-40B4-BE49-F238E27FC236}">
                  <a16:creationId xmlns:a16="http://schemas.microsoft.com/office/drawing/2014/main" id="{850D966E-D121-46A2-A9B6-126C44278D70}"/>
                </a:ext>
              </a:extLst>
            </p:cNvPr>
            <p:cNvCxnSpPr>
              <a:cxnSpLocks/>
            </p:cNvCxnSpPr>
            <p:nvPr/>
          </p:nvCxnSpPr>
          <p:spPr>
            <a:xfrm rot="10800000" flipV="1">
              <a:off x="-5506102" y="1610316"/>
              <a:ext cx="0" cy="6037657"/>
            </a:xfrm>
            <a:prstGeom prst="line">
              <a:avLst/>
            </a:prstGeom>
            <a:grpFill/>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42" name="Teardrop 38">
              <a:extLst>
                <a:ext uri="{FF2B5EF4-FFF2-40B4-BE49-F238E27FC236}">
                  <a16:creationId xmlns:a16="http://schemas.microsoft.com/office/drawing/2014/main" id="{03E30689-2FFD-45ED-9EC0-5A673DE16196}"/>
                </a:ext>
              </a:extLst>
            </p:cNvPr>
            <p:cNvSpPr/>
            <p:nvPr/>
          </p:nvSpPr>
          <p:spPr>
            <a:xfrm rot="8100000">
              <a:off x="-5771165" y="1295207"/>
              <a:ext cx="504000" cy="504000"/>
            </a:xfrm>
            <a:prstGeom prst="teardrop">
              <a:avLst>
                <a:gd name="adj" fmla="val 9891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dirty="0"/>
            </a:p>
          </p:txBody>
        </p:sp>
      </p:grpSp>
      <p:sp>
        <p:nvSpPr>
          <p:cNvPr id="43" name="Espace réservé du numéro de diapositive 1">
            <a:extLst>
              <a:ext uri="{FF2B5EF4-FFF2-40B4-BE49-F238E27FC236}">
                <a16:creationId xmlns:a16="http://schemas.microsoft.com/office/drawing/2014/main" id="{61C7C86C-F77D-471A-BEC3-BD649C753A32}"/>
              </a:ext>
            </a:extLst>
          </p:cNvPr>
          <p:cNvSpPr txBox="1">
            <a:spLocks/>
          </p:cNvSpPr>
          <p:nvPr/>
        </p:nvSpPr>
        <p:spPr>
          <a:xfrm>
            <a:off x="9292085" y="6296927"/>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solidFill>
                <a:latin typeface="Lato"/>
              </a:rPr>
              <a:t>8</a:t>
            </a:r>
          </a:p>
        </p:txBody>
      </p:sp>
      <p:sp>
        <p:nvSpPr>
          <p:cNvPr id="44" name="ZoneTexte 54">
            <a:extLst>
              <a:ext uri="{FF2B5EF4-FFF2-40B4-BE49-F238E27FC236}">
                <a16:creationId xmlns:a16="http://schemas.microsoft.com/office/drawing/2014/main" id="{F6E1A537-9FC1-4A8A-BECF-A513605A1A33}"/>
              </a:ext>
            </a:extLst>
          </p:cNvPr>
          <p:cNvSpPr txBox="1"/>
          <p:nvPr/>
        </p:nvSpPr>
        <p:spPr>
          <a:xfrm>
            <a:off x="3313190" y="74184"/>
            <a:ext cx="2024481" cy="646331"/>
          </a:xfrm>
          <a:prstGeom prst="rect">
            <a:avLst/>
          </a:prstGeom>
          <a:solidFill>
            <a:srgbClr val="020088"/>
          </a:solidFill>
        </p:spPr>
        <p:txBody>
          <a:bodyPr wrap="square" rtlCol="0">
            <a:spAutoFit/>
          </a:bodyPr>
          <a:lstStyle>
            <a:defPPr>
              <a:defRPr lang="fr-FR"/>
            </a:defPPr>
            <a:lvl1pPr algn="ctr">
              <a:defRPr>
                <a:solidFill>
                  <a:schemeClr val="bg1"/>
                </a:solidFill>
                <a:latin typeface="Lato  "/>
              </a:defRPr>
            </a:lvl1pPr>
          </a:lstStyle>
          <a:p>
            <a:r>
              <a:rPr lang="it-IT" dirty="0"/>
              <a:t>Contexte Général</a:t>
            </a:r>
          </a:p>
          <a:p>
            <a:r>
              <a:rPr lang="it-IT" dirty="0"/>
              <a:t> du projet</a:t>
            </a:r>
          </a:p>
        </p:txBody>
      </p:sp>
      <p:cxnSp>
        <p:nvCxnSpPr>
          <p:cNvPr id="45" name="Connecteur droit 57">
            <a:extLst>
              <a:ext uri="{FF2B5EF4-FFF2-40B4-BE49-F238E27FC236}">
                <a16:creationId xmlns:a16="http://schemas.microsoft.com/office/drawing/2014/main" id="{02317BB6-B80E-4776-BB98-9571F0DC567C}"/>
              </a:ext>
            </a:extLst>
          </p:cNvPr>
          <p:cNvCxnSpPr>
            <a:cxnSpLocks/>
            <a:stCxn id="44" idx="3"/>
            <a:endCxn id="35" idx="1"/>
          </p:cNvCxnSpPr>
          <p:nvPr/>
        </p:nvCxnSpPr>
        <p:spPr>
          <a:xfrm>
            <a:off x="5337671" y="397350"/>
            <a:ext cx="1096007" cy="0"/>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46" name="Groupe 28">
            <a:extLst>
              <a:ext uri="{FF2B5EF4-FFF2-40B4-BE49-F238E27FC236}">
                <a16:creationId xmlns:a16="http://schemas.microsoft.com/office/drawing/2014/main" id="{614EF61D-FD86-444B-9D92-2B050B77C8AC}"/>
              </a:ext>
            </a:extLst>
          </p:cNvPr>
          <p:cNvGrpSpPr/>
          <p:nvPr/>
        </p:nvGrpSpPr>
        <p:grpSpPr>
          <a:xfrm>
            <a:off x="77363" y="719970"/>
            <a:ext cx="1996812" cy="423771"/>
            <a:chOff x="1753713" y="816113"/>
            <a:chExt cx="1441631" cy="423771"/>
          </a:xfrm>
        </p:grpSpPr>
        <p:sp>
          <p:nvSpPr>
            <p:cNvPr id="47" name="ZoneTexte 20">
              <a:extLst>
                <a:ext uri="{FF2B5EF4-FFF2-40B4-BE49-F238E27FC236}">
                  <a16:creationId xmlns:a16="http://schemas.microsoft.com/office/drawing/2014/main" id="{F97867DB-3219-4369-A6C0-14CDE690DF22}"/>
                </a:ext>
              </a:extLst>
            </p:cNvPr>
            <p:cNvSpPr txBox="1"/>
            <p:nvPr/>
          </p:nvSpPr>
          <p:spPr>
            <a:xfrm>
              <a:off x="1753713" y="816113"/>
              <a:ext cx="1441631"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lumMod val="65000"/>
                    </a:schemeClr>
                  </a:solidFill>
                </a:rPr>
                <a:t>Problématique</a:t>
              </a:r>
            </a:p>
          </p:txBody>
        </p:sp>
        <p:cxnSp>
          <p:nvCxnSpPr>
            <p:cNvPr id="48" name="Connecteur droit 51">
              <a:extLst>
                <a:ext uri="{FF2B5EF4-FFF2-40B4-BE49-F238E27FC236}">
                  <a16:creationId xmlns:a16="http://schemas.microsoft.com/office/drawing/2014/main" id="{D048288E-3873-4BAE-A286-2D7021695163}"/>
                </a:ext>
              </a:extLst>
            </p:cNvPr>
            <p:cNvCxnSpPr/>
            <p:nvPr/>
          </p:nvCxnSpPr>
          <p:spPr>
            <a:xfrm>
              <a:off x="1860066" y="123988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9" name="Groupe 12">
            <a:extLst>
              <a:ext uri="{FF2B5EF4-FFF2-40B4-BE49-F238E27FC236}">
                <a16:creationId xmlns:a16="http://schemas.microsoft.com/office/drawing/2014/main" id="{7713009C-FD80-4C89-B727-0BB90C4CB39C}"/>
              </a:ext>
            </a:extLst>
          </p:cNvPr>
          <p:cNvGrpSpPr/>
          <p:nvPr/>
        </p:nvGrpSpPr>
        <p:grpSpPr>
          <a:xfrm>
            <a:off x="4095976" y="719970"/>
            <a:ext cx="3233729" cy="379493"/>
            <a:chOff x="5366457" y="818819"/>
            <a:chExt cx="3233729" cy="379493"/>
          </a:xfrm>
        </p:grpSpPr>
        <p:sp>
          <p:nvSpPr>
            <p:cNvPr id="50" name="ZoneTexte 23">
              <a:extLst>
                <a:ext uri="{FF2B5EF4-FFF2-40B4-BE49-F238E27FC236}">
                  <a16:creationId xmlns:a16="http://schemas.microsoft.com/office/drawing/2014/main" id="{DD5226CF-0896-4E8B-A196-3C4001B34720}"/>
                </a:ext>
              </a:extLst>
            </p:cNvPr>
            <p:cNvSpPr txBox="1"/>
            <p:nvPr/>
          </p:nvSpPr>
          <p:spPr>
            <a:xfrm>
              <a:off x="5366457" y="818819"/>
              <a:ext cx="3233729"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lumMod val="65000"/>
                    </a:schemeClr>
                  </a:solidFill>
                </a:rPr>
                <a:t>Méthodologie de résolution</a:t>
              </a:r>
            </a:p>
          </p:txBody>
        </p:sp>
        <p:cxnSp>
          <p:nvCxnSpPr>
            <p:cNvPr id="51" name="Connecteur droit 64">
              <a:extLst>
                <a:ext uri="{FF2B5EF4-FFF2-40B4-BE49-F238E27FC236}">
                  <a16:creationId xmlns:a16="http://schemas.microsoft.com/office/drawing/2014/main" id="{DBDFC1D2-98C6-4D62-9AAA-AB035E716482}"/>
                </a:ext>
              </a:extLst>
            </p:cNvPr>
            <p:cNvCxnSpPr/>
            <p:nvPr/>
          </p:nvCxnSpPr>
          <p:spPr>
            <a:xfrm>
              <a:off x="5411034" y="1198312"/>
              <a:ext cx="771015"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2" name="Groupe 59">
            <a:extLst>
              <a:ext uri="{FF2B5EF4-FFF2-40B4-BE49-F238E27FC236}">
                <a16:creationId xmlns:a16="http://schemas.microsoft.com/office/drawing/2014/main" id="{7D2051A2-B809-45AB-8D3A-BE8D0F7C4204}"/>
              </a:ext>
            </a:extLst>
          </p:cNvPr>
          <p:cNvGrpSpPr/>
          <p:nvPr/>
        </p:nvGrpSpPr>
        <p:grpSpPr>
          <a:xfrm>
            <a:off x="7259295" y="721782"/>
            <a:ext cx="4307093" cy="377527"/>
            <a:chOff x="3523035" y="81616"/>
            <a:chExt cx="1655092" cy="397775"/>
          </a:xfrm>
        </p:grpSpPr>
        <p:sp>
          <p:nvSpPr>
            <p:cNvPr id="53" name="ZoneTexte 60">
              <a:extLst>
                <a:ext uri="{FF2B5EF4-FFF2-40B4-BE49-F238E27FC236}">
                  <a16:creationId xmlns:a16="http://schemas.microsoft.com/office/drawing/2014/main" id="{0BDFD350-A9C6-4292-B85B-09DC5057582A}"/>
                </a:ext>
              </a:extLst>
            </p:cNvPr>
            <p:cNvSpPr txBox="1"/>
            <p:nvPr/>
          </p:nvSpPr>
          <p:spPr>
            <a:xfrm>
              <a:off x="3523035" y="81616"/>
              <a:ext cx="1655092" cy="356712"/>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600" b="1" dirty="0">
                  <a:latin typeface="Lato  "/>
                </a:rPr>
                <a:t>Planification du projet</a:t>
              </a:r>
            </a:p>
          </p:txBody>
        </p:sp>
        <p:cxnSp>
          <p:nvCxnSpPr>
            <p:cNvPr id="54" name="Connecteur droit 61">
              <a:extLst>
                <a:ext uri="{FF2B5EF4-FFF2-40B4-BE49-F238E27FC236}">
                  <a16:creationId xmlns:a16="http://schemas.microsoft.com/office/drawing/2014/main" id="{00BD45FF-3E6D-416F-A9D3-4785CFF629B2}"/>
                </a:ext>
              </a:extLst>
            </p:cNvPr>
            <p:cNvCxnSpPr/>
            <p:nvPr/>
          </p:nvCxnSpPr>
          <p:spPr>
            <a:xfrm>
              <a:off x="3911241" y="479391"/>
              <a:ext cx="296279" cy="0"/>
            </a:xfrm>
            <a:prstGeom prst="line">
              <a:avLst/>
            </a:prstGeom>
            <a:ln w="28575">
              <a:solidFill>
                <a:srgbClr val="EE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5" name="Object 4">
            <a:extLst>
              <a:ext uri="{FF2B5EF4-FFF2-40B4-BE49-F238E27FC236}">
                <a16:creationId xmlns:a16="http://schemas.microsoft.com/office/drawing/2014/main" id="{C7E1E7C5-102C-4AA0-9E5E-134CF46E5B1E}"/>
              </a:ext>
            </a:extLst>
          </p:cNvPr>
          <p:cNvGraphicFramePr>
            <a:graphicFrameLocks noChangeAspect="1"/>
          </p:cNvGraphicFramePr>
          <p:nvPr/>
        </p:nvGraphicFramePr>
        <p:xfrm>
          <a:off x="213587" y="884256"/>
          <a:ext cx="11162451" cy="5966411"/>
        </p:xfrm>
        <a:graphic>
          <a:graphicData uri="http://schemas.openxmlformats.org/presentationml/2006/ole">
            <mc:AlternateContent xmlns:mc="http://schemas.openxmlformats.org/markup-compatibility/2006">
              <mc:Choice xmlns:v="urn:schemas-microsoft-com:vml" Requires="v">
                <p:oleObj name="Document" r:id="rId3" imgW="9631200" imgH="5849595" progId="Word.Document.12">
                  <p:embed/>
                </p:oleObj>
              </mc:Choice>
              <mc:Fallback>
                <p:oleObj name="Document" r:id="rId3" imgW="9631200" imgH="5849595" progId="Word.Document.12">
                  <p:embed/>
                  <p:pic>
                    <p:nvPicPr>
                      <p:cNvPr id="5" name="Object 4">
                        <a:extLst>
                          <a:ext uri="{FF2B5EF4-FFF2-40B4-BE49-F238E27FC236}">
                            <a16:creationId xmlns:a16="http://schemas.microsoft.com/office/drawing/2014/main" id="{C7E1E7C5-102C-4AA0-9E5E-134CF46E5B1E}"/>
                          </a:ext>
                        </a:extLst>
                      </p:cNvPr>
                      <p:cNvPicPr/>
                      <p:nvPr/>
                    </p:nvPicPr>
                    <p:blipFill>
                      <a:blip r:embed="rId4"/>
                      <a:stretch>
                        <a:fillRect/>
                      </a:stretch>
                    </p:blipFill>
                    <p:spPr>
                      <a:xfrm>
                        <a:off x="213587" y="884256"/>
                        <a:ext cx="11162451" cy="5966411"/>
                      </a:xfrm>
                      <a:prstGeom prst="rect">
                        <a:avLst/>
                      </a:prstGeom>
                    </p:spPr>
                  </p:pic>
                </p:oleObj>
              </mc:Fallback>
            </mc:AlternateContent>
          </a:graphicData>
        </a:graphic>
      </p:graphicFrame>
    </p:spTree>
    <p:extLst>
      <p:ext uri="{BB962C8B-B14F-4D97-AF65-F5344CB8AC3E}">
        <p14:creationId xmlns:p14="http://schemas.microsoft.com/office/powerpoint/2010/main" val="2045945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nodeType="afterEffect">
                                  <p:stCondLst>
                                    <p:cond delay="0"/>
                                  </p:stCondLst>
                                  <p:childTnLst>
                                    <p:animRot by="120000">
                                      <p:cBhvr>
                                        <p:cTn id="6" dur="100" fill="hold">
                                          <p:stCondLst>
                                            <p:cond delay="0"/>
                                          </p:stCondLst>
                                        </p:cTn>
                                        <p:tgtEl>
                                          <p:spTgt spid="52"/>
                                        </p:tgtEl>
                                        <p:attrNameLst>
                                          <p:attrName>r</p:attrName>
                                        </p:attrNameLst>
                                      </p:cBhvr>
                                    </p:animRot>
                                    <p:animRot by="-240000">
                                      <p:cBhvr>
                                        <p:cTn id="7" dur="200" fill="hold">
                                          <p:stCondLst>
                                            <p:cond delay="200"/>
                                          </p:stCondLst>
                                        </p:cTn>
                                        <p:tgtEl>
                                          <p:spTgt spid="52"/>
                                        </p:tgtEl>
                                        <p:attrNameLst>
                                          <p:attrName>r</p:attrName>
                                        </p:attrNameLst>
                                      </p:cBhvr>
                                    </p:animRot>
                                    <p:animRot by="240000">
                                      <p:cBhvr>
                                        <p:cTn id="8" dur="200" fill="hold">
                                          <p:stCondLst>
                                            <p:cond delay="400"/>
                                          </p:stCondLst>
                                        </p:cTn>
                                        <p:tgtEl>
                                          <p:spTgt spid="52"/>
                                        </p:tgtEl>
                                        <p:attrNameLst>
                                          <p:attrName>r</p:attrName>
                                        </p:attrNameLst>
                                      </p:cBhvr>
                                    </p:animRot>
                                    <p:animRot by="-240000">
                                      <p:cBhvr>
                                        <p:cTn id="9" dur="200" fill="hold">
                                          <p:stCondLst>
                                            <p:cond delay="600"/>
                                          </p:stCondLst>
                                        </p:cTn>
                                        <p:tgtEl>
                                          <p:spTgt spid="52"/>
                                        </p:tgtEl>
                                        <p:attrNameLst>
                                          <p:attrName>r</p:attrName>
                                        </p:attrNameLst>
                                      </p:cBhvr>
                                    </p:animRot>
                                    <p:animRot by="120000">
                                      <p:cBhvr>
                                        <p:cTn id="10" dur="200" fill="hold">
                                          <p:stCondLst>
                                            <p:cond delay="800"/>
                                          </p:stCondLst>
                                        </p:cTn>
                                        <p:tgtEl>
                                          <p:spTgt spid="52"/>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5" presetClass="entr" presetSubtype="1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checkerboard(across)">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e 11"/>
          <p:cNvGrpSpPr/>
          <p:nvPr/>
        </p:nvGrpSpPr>
        <p:grpSpPr>
          <a:xfrm>
            <a:off x="1281346" y="779704"/>
            <a:ext cx="1308010" cy="400110"/>
            <a:chOff x="2037715" y="892654"/>
            <a:chExt cx="1127024" cy="400110"/>
          </a:xfrm>
        </p:grpSpPr>
        <p:sp>
          <p:nvSpPr>
            <p:cNvPr id="44" name="ZoneTexte 43"/>
            <p:cNvSpPr txBox="1"/>
            <p:nvPr/>
          </p:nvSpPr>
          <p:spPr>
            <a:xfrm>
              <a:off x="2037715" y="892654"/>
              <a:ext cx="1127024"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b="1" dirty="0">
                  <a:latin typeface="Lato  "/>
                </a:rPr>
                <a:t>Définir</a:t>
              </a:r>
            </a:p>
          </p:txBody>
        </p:sp>
        <p:cxnSp>
          <p:nvCxnSpPr>
            <p:cNvPr id="55" name="Connecteur droit 54"/>
            <p:cNvCxnSpPr/>
            <p:nvPr/>
          </p:nvCxnSpPr>
          <p:spPr>
            <a:xfrm>
              <a:off x="2264795" y="1282860"/>
              <a:ext cx="540001" cy="0"/>
            </a:xfrm>
            <a:prstGeom prst="line">
              <a:avLst/>
            </a:prstGeom>
            <a:ln w="28575">
              <a:solidFill>
                <a:srgbClr val="EE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3" name="Groupe 12"/>
          <p:cNvGrpSpPr/>
          <p:nvPr/>
        </p:nvGrpSpPr>
        <p:grpSpPr>
          <a:xfrm>
            <a:off x="3203343" y="779704"/>
            <a:ext cx="1440667" cy="400110"/>
            <a:chOff x="3959712" y="892654"/>
            <a:chExt cx="1241325" cy="400110"/>
          </a:xfrm>
        </p:grpSpPr>
        <p:sp>
          <p:nvSpPr>
            <p:cNvPr id="47" name="ZoneTexte 46"/>
            <p:cNvSpPr txBox="1"/>
            <p:nvPr/>
          </p:nvSpPr>
          <p:spPr>
            <a:xfrm>
              <a:off x="3959712" y="892654"/>
              <a:ext cx="1241325"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Mesurer</a:t>
              </a:r>
            </a:p>
          </p:txBody>
        </p:sp>
        <p:cxnSp>
          <p:nvCxnSpPr>
            <p:cNvPr id="56" name="Connecteur droit 55"/>
            <p:cNvCxnSpPr/>
            <p:nvPr/>
          </p:nvCxnSpPr>
          <p:spPr>
            <a:xfrm>
              <a:off x="4176722" y="1282860"/>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5" name="Groupe 14"/>
          <p:cNvGrpSpPr/>
          <p:nvPr/>
        </p:nvGrpSpPr>
        <p:grpSpPr>
          <a:xfrm>
            <a:off x="5099616" y="779704"/>
            <a:ext cx="1440667" cy="400110"/>
            <a:chOff x="5855985" y="892654"/>
            <a:chExt cx="1241325" cy="400110"/>
          </a:xfrm>
        </p:grpSpPr>
        <p:sp>
          <p:nvSpPr>
            <p:cNvPr id="49" name="ZoneTexte 48"/>
            <p:cNvSpPr txBox="1"/>
            <p:nvPr/>
          </p:nvSpPr>
          <p:spPr>
            <a:xfrm>
              <a:off x="5855985" y="892654"/>
              <a:ext cx="1241325"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Analyser</a:t>
              </a:r>
            </a:p>
          </p:txBody>
        </p:sp>
        <p:cxnSp>
          <p:nvCxnSpPr>
            <p:cNvPr id="58" name="Connecteur droit 57"/>
            <p:cNvCxnSpPr/>
            <p:nvPr/>
          </p:nvCxnSpPr>
          <p:spPr>
            <a:xfrm>
              <a:off x="6047085"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Groupe 15"/>
          <p:cNvGrpSpPr/>
          <p:nvPr/>
        </p:nvGrpSpPr>
        <p:grpSpPr>
          <a:xfrm>
            <a:off x="7135914" y="779704"/>
            <a:ext cx="1561262" cy="400110"/>
            <a:chOff x="7892283" y="892654"/>
            <a:chExt cx="1345234" cy="400110"/>
          </a:xfrm>
        </p:grpSpPr>
        <p:sp>
          <p:nvSpPr>
            <p:cNvPr id="51" name="ZoneTexte 50"/>
            <p:cNvSpPr txBox="1"/>
            <p:nvPr/>
          </p:nvSpPr>
          <p:spPr>
            <a:xfrm>
              <a:off x="7892283" y="892654"/>
              <a:ext cx="1345234"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Améliorer</a:t>
              </a:r>
            </a:p>
          </p:txBody>
        </p:sp>
        <p:cxnSp>
          <p:nvCxnSpPr>
            <p:cNvPr id="60" name="Connecteur droit 59"/>
            <p:cNvCxnSpPr/>
            <p:nvPr/>
          </p:nvCxnSpPr>
          <p:spPr>
            <a:xfrm>
              <a:off x="8083704"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7" name="Groupe 56"/>
          <p:cNvGrpSpPr/>
          <p:nvPr/>
        </p:nvGrpSpPr>
        <p:grpSpPr>
          <a:xfrm>
            <a:off x="9151749" y="779704"/>
            <a:ext cx="1464786" cy="400110"/>
            <a:chOff x="9908118" y="892654"/>
            <a:chExt cx="1262107" cy="400110"/>
          </a:xfrm>
        </p:grpSpPr>
        <p:sp>
          <p:nvSpPr>
            <p:cNvPr id="53" name="ZoneTexte 52"/>
            <p:cNvSpPr txBox="1"/>
            <p:nvPr/>
          </p:nvSpPr>
          <p:spPr>
            <a:xfrm>
              <a:off x="9908118" y="892654"/>
              <a:ext cx="1262107"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Contrôler</a:t>
              </a:r>
            </a:p>
          </p:txBody>
        </p:sp>
        <p:cxnSp>
          <p:nvCxnSpPr>
            <p:cNvPr id="62" name="Connecteur droit 61"/>
            <p:cNvCxnSpPr/>
            <p:nvPr/>
          </p:nvCxnSpPr>
          <p:spPr>
            <a:xfrm>
              <a:off x="10089149"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ZoneTexte 63"/>
          <p:cNvSpPr txBox="1"/>
          <p:nvPr/>
        </p:nvSpPr>
        <p:spPr>
          <a:xfrm>
            <a:off x="4320848" y="1245949"/>
            <a:ext cx="3107978" cy="461665"/>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400" dirty="0">
                <a:solidFill>
                  <a:srgbClr val="020088"/>
                </a:solidFill>
                <a:effectLst>
                  <a:outerShdw blurRad="38100" dist="38100" dir="2700000" algn="tl">
                    <a:srgbClr val="000000">
                      <a:alpha val="43137"/>
                    </a:srgbClr>
                  </a:outerShdw>
                </a:effectLst>
                <a:latin typeface="Lato  "/>
              </a:rPr>
              <a:t>Problématique</a:t>
            </a:r>
          </a:p>
        </p:txBody>
      </p:sp>
      <p:sp>
        <p:nvSpPr>
          <p:cNvPr id="65" name="Text Placeholder 33"/>
          <p:cNvSpPr txBox="1">
            <a:spLocks/>
          </p:cNvSpPr>
          <p:nvPr/>
        </p:nvSpPr>
        <p:spPr>
          <a:xfrm>
            <a:off x="556331" y="2217211"/>
            <a:ext cx="3355511" cy="789130"/>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sz="1400" dirty="0">
                <a:latin typeface="Lato  "/>
              </a:rPr>
              <a:t>   </a:t>
            </a:r>
            <a:r>
              <a:rPr lang="fr-FR" sz="1600" dirty="0">
                <a:latin typeface="Lato  "/>
              </a:rPr>
              <a:t>l’usine RENAULT Tanger</a:t>
            </a:r>
          </a:p>
          <a:p>
            <a:pPr marL="268288" indent="-268288"/>
            <a:r>
              <a:rPr lang="fr-FR" sz="1600" dirty="0">
                <a:latin typeface="Lato  "/>
              </a:rPr>
              <a:t>Personnel du département Tôlerie</a:t>
            </a:r>
          </a:p>
          <a:p>
            <a:pPr>
              <a:tabLst>
                <a:tab pos="363538" algn="l"/>
              </a:tabLst>
            </a:pPr>
            <a:r>
              <a:rPr lang="fr-FR" sz="1600" b="1" dirty="0">
                <a:latin typeface="Lato  "/>
              </a:rPr>
              <a:t>   FERHANE Anass</a:t>
            </a:r>
          </a:p>
        </p:txBody>
      </p:sp>
      <p:sp>
        <p:nvSpPr>
          <p:cNvPr id="66" name="Oval 35"/>
          <p:cNvSpPr>
            <a:spLocks noChangeAspect="1"/>
          </p:cNvSpPr>
          <p:nvPr/>
        </p:nvSpPr>
        <p:spPr>
          <a:xfrm>
            <a:off x="1954902" y="1602869"/>
            <a:ext cx="1121687" cy="551992"/>
          </a:xfrm>
          <a:prstGeom prst="rect">
            <a:avLst/>
          </a:prstGeom>
          <a:solidFill>
            <a:srgbClr val="02008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dirty="0">
                <a:solidFill>
                  <a:schemeClr val="bg1"/>
                </a:solidFill>
                <a:latin typeface="Lato  "/>
              </a:rPr>
              <a:t>Qui ?</a:t>
            </a:r>
            <a:endParaRPr lang="en-US" dirty="0">
              <a:solidFill>
                <a:schemeClr val="bg1"/>
              </a:solidFill>
              <a:latin typeface="Lato  "/>
            </a:endParaRPr>
          </a:p>
        </p:txBody>
      </p:sp>
      <p:sp>
        <p:nvSpPr>
          <p:cNvPr id="67" name="Text Placeholder 33"/>
          <p:cNvSpPr txBox="1">
            <a:spLocks/>
          </p:cNvSpPr>
          <p:nvPr/>
        </p:nvSpPr>
        <p:spPr>
          <a:xfrm>
            <a:off x="65063" y="3809908"/>
            <a:ext cx="2640406" cy="124227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lnSpc>
                <a:spcPct val="100000"/>
              </a:lnSpc>
            </a:pPr>
            <a:r>
              <a:rPr lang="fr-FR" sz="1600" dirty="0">
                <a:latin typeface="Lato  "/>
              </a:rPr>
              <a:t>Jeu entre pavillon et barre de toit</a:t>
            </a:r>
          </a:p>
          <a:p>
            <a:pPr algn="ctr">
              <a:lnSpc>
                <a:spcPct val="100000"/>
              </a:lnSpc>
            </a:pPr>
            <a:r>
              <a:rPr lang="fr-FR" sz="1600" dirty="0">
                <a:latin typeface="Lato  "/>
              </a:rPr>
              <a:t>Augmentation  de nombre des défauts de mal fixation des barres de toit</a:t>
            </a:r>
          </a:p>
        </p:txBody>
      </p:sp>
      <p:sp>
        <p:nvSpPr>
          <p:cNvPr id="68" name="Oval 39"/>
          <p:cNvSpPr>
            <a:spLocks noChangeAspect="1"/>
          </p:cNvSpPr>
          <p:nvPr/>
        </p:nvSpPr>
        <p:spPr>
          <a:xfrm>
            <a:off x="646923" y="3187110"/>
            <a:ext cx="1092320" cy="551992"/>
          </a:xfrm>
          <a:prstGeom prst="rect">
            <a:avLst/>
          </a:prstGeom>
          <a:solidFill>
            <a:srgbClr val="02008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dirty="0">
                <a:solidFill>
                  <a:srgbClr val="FFFFFF"/>
                </a:solidFill>
                <a:latin typeface="Lato  "/>
              </a:rPr>
              <a:t>Quoi ?</a:t>
            </a:r>
          </a:p>
        </p:txBody>
      </p:sp>
      <p:sp>
        <p:nvSpPr>
          <p:cNvPr id="69" name="Text Placeholder 33"/>
          <p:cNvSpPr txBox="1">
            <a:spLocks/>
          </p:cNvSpPr>
          <p:nvPr/>
        </p:nvSpPr>
        <p:spPr>
          <a:xfrm>
            <a:off x="2398130" y="5093162"/>
            <a:ext cx="3135681" cy="154055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00000"/>
              </a:lnSpc>
              <a:buNone/>
            </a:pPr>
            <a:endParaRPr lang="en-AU" sz="1600" dirty="0">
              <a:latin typeface="Lato  "/>
            </a:endParaRPr>
          </a:p>
          <a:p>
            <a:pPr marL="0" indent="0" algn="just">
              <a:lnSpc>
                <a:spcPct val="100000"/>
              </a:lnSpc>
              <a:buFont typeface="Wingdings" panose="05000000000000000000" pitchFamily="2" charset="2"/>
              <a:buChar char="Ø"/>
            </a:pPr>
            <a:r>
              <a:rPr lang="en-AU" sz="1600" dirty="0">
                <a:latin typeface="Lato  "/>
              </a:rPr>
              <a:t>Atelier Montage</a:t>
            </a:r>
          </a:p>
          <a:p>
            <a:pPr marL="0" indent="0" algn="just">
              <a:lnSpc>
                <a:spcPct val="100000"/>
              </a:lnSpc>
              <a:buFont typeface="Wingdings" panose="05000000000000000000" pitchFamily="2" charset="2"/>
              <a:buChar char="Ø"/>
            </a:pPr>
            <a:r>
              <a:rPr lang="en-AU" sz="1600" dirty="0">
                <a:latin typeface="Lato  "/>
              </a:rPr>
              <a:t>Atelier Tôlerie</a:t>
            </a:r>
          </a:p>
          <a:p>
            <a:pPr marL="0" indent="0" algn="just">
              <a:lnSpc>
                <a:spcPct val="100000"/>
              </a:lnSpc>
              <a:buNone/>
            </a:pPr>
            <a:endParaRPr lang="en-AU" sz="1600" dirty="0">
              <a:latin typeface="Lato  "/>
            </a:endParaRPr>
          </a:p>
        </p:txBody>
      </p:sp>
      <p:sp>
        <p:nvSpPr>
          <p:cNvPr id="70" name="Oval 45"/>
          <p:cNvSpPr>
            <a:spLocks noChangeAspect="1"/>
          </p:cNvSpPr>
          <p:nvPr/>
        </p:nvSpPr>
        <p:spPr>
          <a:xfrm>
            <a:off x="2745864" y="4745631"/>
            <a:ext cx="1017896" cy="551992"/>
          </a:xfrm>
          <a:prstGeom prst="rect">
            <a:avLst/>
          </a:prstGeom>
          <a:solidFill>
            <a:srgbClr val="02008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dirty="0">
                <a:solidFill>
                  <a:srgbClr val="FFFFFF"/>
                </a:solidFill>
                <a:latin typeface="Lato  "/>
              </a:rPr>
              <a:t>Où ?</a:t>
            </a:r>
            <a:endParaRPr lang="en-US" dirty="0">
              <a:solidFill>
                <a:srgbClr val="FFFFFF"/>
              </a:solidFill>
              <a:latin typeface="Lato  "/>
            </a:endParaRPr>
          </a:p>
        </p:txBody>
      </p:sp>
      <p:cxnSp>
        <p:nvCxnSpPr>
          <p:cNvPr id="71" name="Elbow Connector 47"/>
          <p:cNvCxnSpPr/>
          <p:nvPr/>
        </p:nvCxnSpPr>
        <p:spPr>
          <a:xfrm rot="10800000" flipV="1">
            <a:off x="3932675" y="3902552"/>
            <a:ext cx="1647005" cy="1132501"/>
          </a:xfrm>
          <a:prstGeom prst="bentConnector3">
            <a:avLst>
              <a:gd name="adj1" fmla="val 50000"/>
            </a:avLst>
          </a:prstGeom>
          <a:ln w="6350">
            <a:solidFill>
              <a:srgbClr val="020088"/>
            </a:solidFill>
            <a:tailEnd type="triangle"/>
          </a:ln>
        </p:spPr>
        <p:style>
          <a:lnRef idx="1">
            <a:schemeClr val="accent1"/>
          </a:lnRef>
          <a:fillRef idx="0">
            <a:schemeClr val="accent1"/>
          </a:fillRef>
          <a:effectRef idx="0">
            <a:schemeClr val="accent1"/>
          </a:effectRef>
          <a:fontRef idx="minor">
            <a:schemeClr val="tx1"/>
          </a:fontRef>
        </p:style>
      </p:cxnSp>
      <p:cxnSp>
        <p:nvCxnSpPr>
          <p:cNvPr id="72" name="Elbow Connector 50"/>
          <p:cNvCxnSpPr/>
          <p:nvPr/>
        </p:nvCxnSpPr>
        <p:spPr>
          <a:xfrm rot="10800000">
            <a:off x="1878360" y="3486049"/>
            <a:ext cx="3612377" cy="509123"/>
          </a:xfrm>
          <a:prstGeom prst="bentConnector3">
            <a:avLst>
              <a:gd name="adj1" fmla="val 50000"/>
            </a:avLst>
          </a:prstGeom>
          <a:ln w="63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73" name="Text Placeholder 33"/>
          <p:cNvSpPr txBox="1">
            <a:spLocks/>
          </p:cNvSpPr>
          <p:nvPr/>
        </p:nvSpPr>
        <p:spPr>
          <a:xfrm flipH="1">
            <a:off x="7777364" y="2200791"/>
            <a:ext cx="3491952" cy="58014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fr-FR" sz="1600" dirty="0">
                <a:latin typeface="Lato  "/>
              </a:rPr>
              <a:t>Depuis le lancement de la gamme b52</a:t>
            </a:r>
          </a:p>
          <a:p>
            <a:pPr marL="0" indent="0" algn="ctr">
              <a:buNone/>
            </a:pPr>
            <a:endParaRPr lang="fr-FR" sz="1400" dirty="0">
              <a:latin typeface="Lato  "/>
            </a:endParaRPr>
          </a:p>
        </p:txBody>
      </p:sp>
      <p:sp>
        <p:nvSpPr>
          <p:cNvPr id="74" name="Oval 53"/>
          <p:cNvSpPr>
            <a:spLocks noChangeAspect="1"/>
          </p:cNvSpPr>
          <p:nvPr/>
        </p:nvSpPr>
        <p:spPr>
          <a:xfrm flipH="1">
            <a:off x="8462662" y="1488296"/>
            <a:ext cx="1129963" cy="551992"/>
          </a:xfrm>
          <a:prstGeom prst="rect">
            <a:avLst/>
          </a:prstGeom>
          <a:solidFill>
            <a:srgbClr val="02008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latin typeface="Lato  "/>
              </a:rPr>
              <a:t>Quand ?</a:t>
            </a:r>
          </a:p>
        </p:txBody>
      </p:sp>
      <p:sp>
        <p:nvSpPr>
          <p:cNvPr id="75" name="Text Placeholder 33"/>
          <p:cNvSpPr txBox="1">
            <a:spLocks/>
          </p:cNvSpPr>
          <p:nvPr/>
        </p:nvSpPr>
        <p:spPr>
          <a:xfrm flipH="1">
            <a:off x="7858833" y="3653481"/>
            <a:ext cx="3905219" cy="466017"/>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fr-FR" sz="1600" dirty="0">
                <a:latin typeface="Lato  "/>
              </a:rPr>
              <a:t>Recueil des informations ,l'analyse et proposition des solution d'amélioration</a:t>
            </a:r>
          </a:p>
          <a:p>
            <a:pPr algn="ctr"/>
            <a:r>
              <a:rPr lang="fr-FR" sz="1600" dirty="0">
                <a:latin typeface="Lato  "/>
              </a:rPr>
              <a:t> Utilisation des méthodes du génie Industriel</a:t>
            </a:r>
            <a:endParaRPr lang="en-AU" sz="1600" dirty="0">
              <a:latin typeface="Lato  "/>
            </a:endParaRPr>
          </a:p>
        </p:txBody>
      </p:sp>
      <p:sp>
        <p:nvSpPr>
          <p:cNvPr id="76" name="Oval 56"/>
          <p:cNvSpPr>
            <a:spLocks noChangeAspect="1"/>
          </p:cNvSpPr>
          <p:nvPr/>
        </p:nvSpPr>
        <p:spPr>
          <a:xfrm flipH="1">
            <a:off x="9749273" y="3001148"/>
            <a:ext cx="1429372" cy="551992"/>
          </a:xfrm>
          <a:prstGeom prst="rect">
            <a:avLst/>
          </a:prstGeom>
          <a:solidFill>
            <a:srgbClr val="02008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dirty="0">
                <a:solidFill>
                  <a:srgbClr val="FFFFFF"/>
                </a:solidFill>
                <a:latin typeface="Lato  "/>
              </a:rPr>
              <a:t>Comment ?</a:t>
            </a:r>
            <a:endParaRPr lang="en-US" dirty="0">
              <a:solidFill>
                <a:srgbClr val="FFFFFF"/>
              </a:solidFill>
              <a:latin typeface="Lato  "/>
            </a:endParaRPr>
          </a:p>
        </p:txBody>
      </p:sp>
      <p:sp>
        <p:nvSpPr>
          <p:cNvPr id="77" name="Text Placeholder 33"/>
          <p:cNvSpPr txBox="1">
            <a:spLocks/>
          </p:cNvSpPr>
          <p:nvPr/>
        </p:nvSpPr>
        <p:spPr>
          <a:xfrm flipH="1">
            <a:off x="6802890" y="5335998"/>
            <a:ext cx="4644274" cy="1108397"/>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lnSpc>
                <a:spcPct val="100000"/>
              </a:lnSpc>
            </a:pPr>
            <a:r>
              <a:rPr lang="fr-FR" sz="1600" dirty="0">
                <a:latin typeface="Lato  "/>
              </a:rPr>
              <a:t>Améliorer la qualité de fixation des barre de toit</a:t>
            </a:r>
          </a:p>
          <a:p>
            <a:pPr algn="ctr">
              <a:lnSpc>
                <a:spcPct val="100000"/>
              </a:lnSpc>
            </a:pPr>
            <a:r>
              <a:rPr lang="fr-FR" sz="1600" dirty="0">
                <a:latin typeface="Lato  "/>
              </a:rPr>
              <a:t>Réduire le temps de retouche    </a:t>
            </a:r>
          </a:p>
          <a:p>
            <a:pPr algn="ctr">
              <a:lnSpc>
                <a:spcPct val="100000"/>
              </a:lnSpc>
            </a:pPr>
            <a:r>
              <a:rPr lang="fr-FR" sz="1600" dirty="0">
                <a:latin typeface="Lato  "/>
              </a:rPr>
              <a:t>Améliorer les indicateurs qualité GMF et DPU</a:t>
            </a:r>
          </a:p>
          <a:p>
            <a:pPr algn="ctr">
              <a:lnSpc>
                <a:spcPct val="100000"/>
              </a:lnSpc>
            </a:pPr>
            <a:r>
              <a:rPr lang="fr-FR" sz="1600" dirty="0">
                <a:latin typeface="Lato  "/>
              </a:rPr>
              <a:t>Augmenter la satisfaction du client</a:t>
            </a:r>
            <a:endParaRPr lang="en-AU" sz="1600" dirty="0">
              <a:latin typeface="Lato  "/>
            </a:endParaRPr>
          </a:p>
        </p:txBody>
      </p:sp>
      <p:sp>
        <p:nvSpPr>
          <p:cNvPr id="79" name="Oval 59"/>
          <p:cNvSpPr>
            <a:spLocks noChangeAspect="1"/>
          </p:cNvSpPr>
          <p:nvPr/>
        </p:nvSpPr>
        <p:spPr>
          <a:xfrm flipH="1">
            <a:off x="8404603" y="4685857"/>
            <a:ext cx="1429263" cy="551992"/>
          </a:xfrm>
          <a:prstGeom prst="rect">
            <a:avLst/>
          </a:prstGeom>
          <a:solidFill>
            <a:srgbClr val="02008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dirty="0">
                <a:solidFill>
                  <a:srgbClr val="FFFFFF"/>
                </a:solidFill>
                <a:latin typeface="Lato  "/>
              </a:rPr>
              <a:t>Pourquoi ?</a:t>
            </a:r>
          </a:p>
        </p:txBody>
      </p:sp>
      <p:cxnSp>
        <p:nvCxnSpPr>
          <p:cNvPr id="80" name="Elbow Connector 60"/>
          <p:cNvCxnSpPr/>
          <p:nvPr/>
        </p:nvCxnSpPr>
        <p:spPr>
          <a:xfrm rot="10800000">
            <a:off x="3213367" y="1815650"/>
            <a:ext cx="2173095" cy="1337898"/>
          </a:xfrm>
          <a:prstGeom prst="bentConnector3">
            <a:avLst>
              <a:gd name="adj1" fmla="val 50000"/>
            </a:avLst>
          </a:prstGeom>
          <a:ln w="63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81" name="Elbow Connector 61"/>
          <p:cNvCxnSpPr/>
          <p:nvPr/>
        </p:nvCxnSpPr>
        <p:spPr>
          <a:xfrm>
            <a:off x="6340941" y="3146191"/>
            <a:ext cx="3227181" cy="173079"/>
          </a:xfrm>
          <a:prstGeom prst="bentConnector3">
            <a:avLst>
              <a:gd name="adj1" fmla="val 50000"/>
            </a:avLst>
          </a:prstGeom>
          <a:ln w="63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Elbow Connector 62"/>
          <p:cNvCxnSpPr>
            <a:stCxn id="84" idx="0"/>
          </p:cNvCxnSpPr>
          <p:nvPr/>
        </p:nvCxnSpPr>
        <p:spPr>
          <a:xfrm>
            <a:off x="6802890" y="3631093"/>
            <a:ext cx="1477514" cy="1318076"/>
          </a:xfrm>
          <a:prstGeom prst="bentConnector3">
            <a:avLst>
              <a:gd name="adj1" fmla="val 50000"/>
            </a:avLst>
          </a:prstGeom>
          <a:ln w="6350">
            <a:solidFill>
              <a:srgbClr val="020088"/>
            </a:solidFill>
            <a:tailEnd type="triangle"/>
          </a:ln>
        </p:spPr>
        <p:style>
          <a:lnRef idx="1">
            <a:schemeClr val="accent1"/>
          </a:lnRef>
          <a:fillRef idx="0">
            <a:schemeClr val="accent1"/>
          </a:fillRef>
          <a:effectRef idx="0">
            <a:schemeClr val="accent1"/>
          </a:effectRef>
          <a:fontRef idx="minor">
            <a:schemeClr val="tx1"/>
          </a:fontRef>
        </p:style>
      </p:cxnSp>
      <p:cxnSp>
        <p:nvCxnSpPr>
          <p:cNvPr id="83" name="Elbow Connector 63"/>
          <p:cNvCxnSpPr/>
          <p:nvPr/>
        </p:nvCxnSpPr>
        <p:spPr>
          <a:xfrm rot="10800000" flipH="1">
            <a:off x="6475916" y="1764292"/>
            <a:ext cx="1849969" cy="2093432"/>
          </a:xfrm>
          <a:prstGeom prst="bentConnector3">
            <a:avLst>
              <a:gd name="adj1" fmla="val 49001"/>
            </a:avLst>
          </a:prstGeom>
          <a:ln w="6350">
            <a:solidFill>
              <a:srgbClr val="020088"/>
            </a:solidFill>
            <a:tailEnd type="triangle"/>
          </a:ln>
        </p:spPr>
        <p:style>
          <a:lnRef idx="1">
            <a:schemeClr val="accent1"/>
          </a:lnRef>
          <a:fillRef idx="0">
            <a:schemeClr val="accent1"/>
          </a:fillRef>
          <a:effectRef idx="0">
            <a:schemeClr val="accent1"/>
          </a:effectRef>
          <a:fontRef idx="minor">
            <a:schemeClr val="tx1"/>
          </a:fontRef>
        </p:style>
      </p:cxnSp>
      <p:sp>
        <p:nvSpPr>
          <p:cNvPr id="84" name="Oval 19"/>
          <p:cNvSpPr>
            <a:spLocks noChangeArrowheads="1"/>
          </p:cNvSpPr>
          <p:nvPr/>
        </p:nvSpPr>
        <p:spPr bwMode="auto">
          <a:xfrm>
            <a:off x="4946784" y="2953669"/>
            <a:ext cx="1856106" cy="1354847"/>
          </a:xfrm>
          <a:prstGeom prst="round2DiagRect">
            <a:avLst/>
          </a:prstGeom>
          <a:solidFill>
            <a:srgbClr val="FFC000"/>
          </a:solidFill>
          <a:ln>
            <a:noFill/>
          </a:ln>
        </p:spPr>
        <p:txBody>
          <a:bodyPr vert="horz" wrap="square" lIns="91440" tIns="45720" rIns="91440" bIns="45720" numCol="1" anchor="ctr" anchorCtr="0" compatLnSpc="1">
            <a:prstTxWarp prst="textNoShape">
              <a:avLst/>
            </a:prstTxWarp>
          </a:bodyPr>
          <a:lstStyle/>
          <a:p>
            <a:pPr algn="ctr"/>
            <a:r>
              <a:rPr lang="en-AU" sz="2200" b="1" dirty="0">
                <a:solidFill>
                  <a:schemeClr val="bg1"/>
                </a:solidFill>
                <a:latin typeface="Lato  "/>
              </a:rPr>
              <a:t>QQOQCP</a:t>
            </a:r>
            <a:endParaRPr lang="en-US" sz="2200" b="1" dirty="0">
              <a:solidFill>
                <a:schemeClr val="bg1"/>
              </a:solidFill>
              <a:latin typeface="Lato  "/>
            </a:endParaRPr>
          </a:p>
        </p:txBody>
      </p:sp>
      <p:sp>
        <p:nvSpPr>
          <p:cNvPr id="59" name="Rectangle 58"/>
          <p:cNvSpPr/>
          <p:nvPr/>
        </p:nvSpPr>
        <p:spPr>
          <a:xfrm rot="10800000">
            <a:off x="144038" y="6315373"/>
            <a:ext cx="412293" cy="338554"/>
          </a:xfrm>
          <a:prstGeom prst="rect">
            <a:avLst/>
          </a:prstGeom>
        </p:spPr>
        <p:txBody>
          <a:bodyPr wrap="none">
            <a:spAutoFit/>
          </a:bodyPr>
          <a:lstStyle>
            <a:defPPr>
              <a:defRPr lang="en-US"/>
            </a:defPPr>
            <a:lvl1pPr marL="0" algn="l" defTabSz="914340" rtl="0" eaLnBrk="1" latinLnBrk="0" hangingPunct="1">
              <a:defRPr sz="1800" kern="1200">
                <a:solidFill>
                  <a:schemeClr val="tx1"/>
                </a:solidFill>
                <a:latin typeface="+mn-lt"/>
                <a:ea typeface="+mn-ea"/>
                <a:cs typeface="+mn-cs"/>
              </a:defRPr>
            </a:lvl1pPr>
            <a:lvl2pPr marL="457170"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1" algn="l" defTabSz="914340" rtl="0" eaLnBrk="1" latinLnBrk="0" hangingPunct="1">
              <a:defRPr sz="1800" kern="1200">
                <a:solidFill>
                  <a:schemeClr val="tx1"/>
                </a:solidFill>
                <a:latin typeface="+mn-lt"/>
                <a:ea typeface="+mn-ea"/>
                <a:cs typeface="+mn-cs"/>
              </a:defRPr>
            </a:lvl7pPr>
            <a:lvl8pPr marL="3200193"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a:lstStyle>
          <a:p>
            <a:pPr algn="ctr"/>
            <a:r>
              <a:rPr lang="en-AU" sz="1600" dirty="0">
                <a:solidFill>
                  <a:schemeClr val="bg1"/>
                </a:solidFill>
                <a:latin typeface="Lato"/>
              </a:rPr>
              <a:t>15</a:t>
            </a:r>
          </a:p>
        </p:txBody>
      </p:sp>
      <p:sp>
        <p:nvSpPr>
          <p:cNvPr id="2" name="Espace réservé du numéro de diapositive 1"/>
          <p:cNvSpPr>
            <a:spLocks noGrp="1"/>
          </p:cNvSpPr>
          <p:nvPr>
            <p:ph type="sldNum" sz="quarter" idx="12"/>
          </p:nvPr>
        </p:nvSpPr>
        <p:spPr>
          <a:xfrm>
            <a:off x="9334421" y="6288241"/>
            <a:ext cx="2743200" cy="365125"/>
          </a:xfrm>
        </p:spPr>
        <p:txBody>
          <a:bodyPr vert="horz" lIns="91440" tIns="45720" rIns="91440" bIns="45720" rtlCol="0" anchor="ctr"/>
          <a:lstStyle/>
          <a:p>
            <a:fld id="{6130CD27-AFE4-4E20-B740-5A2305B4E48B}" type="slidenum">
              <a:rPr lang="fr-FR" sz="1600">
                <a:solidFill>
                  <a:schemeClr val="bg1"/>
                </a:solidFill>
                <a:latin typeface="Lato"/>
              </a:rPr>
              <a:pPr/>
              <a:t>13</a:t>
            </a:fld>
            <a:endParaRPr lang="fr-FR" sz="1600" dirty="0">
              <a:solidFill>
                <a:schemeClr val="bg1"/>
              </a:solidFill>
              <a:latin typeface="Lato"/>
            </a:endParaRPr>
          </a:p>
        </p:txBody>
      </p:sp>
      <p:sp>
        <p:nvSpPr>
          <p:cNvPr id="78" name="ZoneTexte 53">
            <a:extLst>
              <a:ext uri="{FF2B5EF4-FFF2-40B4-BE49-F238E27FC236}">
                <a16:creationId xmlns:a16="http://schemas.microsoft.com/office/drawing/2014/main" id="{6F4450BA-9AAA-4FEE-B3C6-7629ACE48039}"/>
              </a:ext>
            </a:extLst>
          </p:cNvPr>
          <p:cNvSpPr txBox="1"/>
          <p:nvPr/>
        </p:nvSpPr>
        <p:spPr>
          <a:xfrm>
            <a:off x="390860" y="74183"/>
            <a:ext cx="1821107"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Environnement </a:t>
            </a:r>
          </a:p>
          <a:p>
            <a:r>
              <a:rPr lang="it-IT" dirty="0"/>
              <a:t>du projet</a:t>
            </a:r>
            <a:endParaRPr lang="fr-FR" dirty="0"/>
          </a:p>
        </p:txBody>
      </p:sp>
      <p:sp>
        <p:nvSpPr>
          <p:cNvPr id="91" name="ZoneTexte 54">
            <a:extLst>
              <a:ext uri="{FF2B5EF4-FFF2-40B4-BE49-F238E27FC236}">
                <a16:creationId xmlns:a16="http://schemas.microsoft.com/office/drawing/2014/main" id="{B24A9C8C-AE54-436E-9627-3001171037C2}"/>
              </a:ext>
            </a:extLst>
          </p:cNvPr>
          <p:cNvSpPr txBox="1"/>
          <p:nvPr/>
        </p:nvSpPr>
        <p:spPr>
          <a:xfrm>
            <a:off x="6433678" y="74184"/>
            <a:ext cx="1784587" cy="646331"/>
          </a:xfrm>
          <a:prstGeom prst="rect">
            <a:avLst/>
          </a:prstGeom>
          <a:solidFill>
            <a:srgbClr val="020088"/>
          </a:solidFill>
        </p:spPr>
        <p:txBody>
          <a:bodyPr wrap="square" rtlCol="0">
            <a:spAutoFit/>
          </a:bodyPr>
          <a:lstStyle>
            <a:defPPr>
              <a:defRPr lang="fr-FR"/>
            </a:defPPr>
            <a:lvl1pPr algn="ctr">
              <a:defRPr>
                <a:solidFill>
                  <a:schemeClr val="bg1"/>
                </a:solidFill>
                <a:latin typeface="Lato  "/>
              </a:defRPr>
            </a:lvl1pPr>
          </a:lstStyle>
          <a:p>
            <a:r>
              <a:rPr lang="it-IT" dirty="0"/>
              <a:t>Mise en oeuvre du projet</a:t>
            </a:r>
            <a:endParaRPr lang="fr-FR" dirty="0"/>
          </a:p>
        </p:txBody>
      </p:sp>
      <p:sp>
        <p:nvSpPr>
          <p:cNvPr id="92" name="ZoneTexte 55">
            <a:extLst>
              <a:ext uri="{FF2B5EF4-FFF2-40B4-BE49-F238E27FC236}">
                <a16:creationId xmlns:a16="http://schemas.microsoft.com/office/drawing/2014/main" id="{37F626EB-7569-4651-A107-92056F5647D1}"/>
              </a:ext>
            </a:extLst>
          </p:cNvPr>
          <p:cNvSpPr txBox="1"/>
          <p:nvPr/>
        </p:nvSpPr>
        <p:spPr>
          <a:xfrm>
            <a:off x="9319488" y="74730"/>
            <a:ext cx="1752879" cy="646331"/>
          </a:xfrm>
          <a:prstGeom prst="rect">
            <a:avLst/>
          </a:prstGeom>
          <a:solidFill>
            <a:schemeClr val="bg2"/>
          </a:solidFill>
        </p:spPr>
        <p:txBody>
          <a:bodyPr wrap="square" rtlCol="0">
            <a:spAutoFit/>
          </a:bodyPr>
          <a:lstStyle/>
          <a:p>
            <a:pPr algn="ctr"/>
            <a:r>
              <a:rPr lang="it-IT" dirty="0">
                <a:latin typeface="Lato  "/>
              </a:rPr>
              <a:t>Conclusion et</a:t>
            </a:r>
          </a:p>
          <a:p>
            <a:pPr algn="ctr"/>
            <a:r>
              <a:rPr lang="it-IT" dirty="0">
                <a:latin typeface="Lato  "/>
              </a:rPr>
              <a:t> Perspectives</a:t>
            </a:r>
            <a:endParaRPr lang="fr-FR" dirty="0">
              <a:latin typeface="Lato  "/>
            </a:endParaRPr>
          </a:p>
        </p:txBody>
      </p:sp>
      <p:cxnSp>
        <p:nvCxnSpPr>
          <p:cNvPr id="93" name="Connecteur droit 56">
            <a:extLst>
              <a:ext uri="{FF2B5EF4-FFF2-40B4-BE49-F238E27FC236}">
                <a16:creationId xmlns:a16="http://schemas.microsoft.com/office/drawing/2014/main" id="{C56F36DF-7BA7-4C08-8F04-CE88255FEA0F}"/>
              </a:ext>
            </a:extLst>
          </p:cNvPr>
          <p:cNvCxnSpPr>
            <a:cxnSpLocks/>
          </p:cNvCxnSpPr>
          <p:nvPr/>
        </p:nvCxnSpPr>
        <p:spPr>
          <a:xfrm>
            <a:off x="11077903" y="410171"/>
            <a:ext cx="793875"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94" name="Connecteur droit 57">
            <a:extLst>
              <a:ext uri="{FF2B5EF4-FFF2-40B4-BE49-F238E27FC236}">
                <a16:creationId xmlns:a16="http://schemas.microsoft.com/office/drawing/2014/main" id="{3ECE51A5-C702-40C3-A387-7D101E5CC9DC}"/>
              </a:ext>
            </a:extLst>
          </p:cNvPr>
          <p:cNvCxnSpPr>
            <a:cxnSpLocks/>
            <a:stCxn id="78" idx="3"/>
            <a:endCxn id="100" idx="1"/>
          </p:cNvCxnSpPr>
          <p:nvPr/>
        </p:nvCxnSpPr>
        <p:spPr>
          <a:xfrm>
            <a:off x="2211967" y="397349"/>
            <a:ext cx="1101223"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95" name="Connecteur droit 58">
            <a:extLst>
              <a:ext uri="{FF2B5EF4-FFF2-40B4-BE49-F238E27FC236}">
                <a16:creationId xmlns:a16="http://schemas.microsoft.com/office/drawing/2014/main" id="{4BB2F680-0AB5-4D3E-BD93-5FD34EA7EB6A}"/>
              </a:ext>
            </a:extLst>
          </p:cNvPr>
          <p:cNvCxnSpPr>
            <a:cxnSpLocks/>
            <a:stCxn id="91" idx="3"/>
            <a:endCxn id="92" idx="1"/>
          </p:cNvCxnSpPr>
          <p:nvPr/>
        </p:nvCxnSpPr>
        <p:spPr>
          <a:xfrm>
            <a:off x="8218265" y="397350"/>
            <a:ext cx="1101223" cy="546"/>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96" name="Group 3">
            <a:extLst>
              <a:ext uri="{FF2B5EF4-FFF2-40B4-BE49-F238E27FC236}">
                <a16:creationId xmlns:a16="http://schemas.microsoft.com/office/drawing/2014/main" id="{899FC0A3-EEE0-4D32-9FA3-D69351D7C30B}"/>
              </a:ext>
            </a:extLst>
          </p:cNvPr>
          <p:cNvGrpSpPr/>
          <p:nvPr/>
        </p:nvGrpSpPr>
        <p:grpSpPr>
          <a:xfrm rot="10800000">
            <a:off x="11632841" y="410171"/>
            <a:ext cx="504000" cy="6352766"/>
            <a:chOff x="-5771165" y="1295207"/>
            <a:chExt cx="504000" cy="6352766"/>
          </a:xfrm>
          <a:solidFill>
            <a:srgbClr val="020088"/>
          </a:solidFill>
        </p:grpSpPr>
        <p:cxnSp>
          <p:nvCxnSpPr>
            <p:cNvPr id="97" name="Straight Connector 9">
              <a:extLst>
                <a:ext uri="{FF2B5EF4-FFF2-40B4-BE49-F238E27FC236}">
                  <a16:creationId xmlns:a16="http://schemas.microsoft.com/office/drawing/2014/main" id="{3E3BED29-644E-48B5-AFCB-042B8EE42DC8}"/>
                </a:ext>
              </a:extLst>
            </p:cNvPr>
            <p:cNvCxnSpPr>
              <a:cxnSpLocks/>
            </p:cNvCxnSpPr>
            <p:nvPr/>
          </p:nvCxnSpPr>
          <p:spPr>
            <a:xfrm rot="10800000" flipV="1">
              <a:off x="-5506102" y="1610316"/>
              <a:ext cx="0" cy="6037657"/>
            </a:xfrm>
            <a:prstGeom prst="line">
              <a:avLst/>
            </a:prstGeom>
            <a:grpFill/>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98" name="Teardrop 38">
              <a:extLst>
                <a:ext uri="{FF2B5EF4-FFF2-40B4-BE49-F238E27FC236}">
                  <a16:creationId xmlns:a16="http://schemas.microsoft.com/office/drawing/2014/main" id="{1196F955-8D6C-41D6-9A31-AB2446601066}"/>
                </a:ext>
              </a:extLst>
            </p:cNvPr>
            <p:cNvSpPr/>
            <p:nvPr/>
          </p:nvSpPr>
          <p:spPr>
            <a:xfrm rot="8100000">
              <a:off x="-5771165" y="1295207"/>
              <a:ext cx="504000" cy="504000"/>
            </a:xfrm>
            <a:prstGeom prst="teardrop">
              <a:avLst>
                <a:gd name="adj" fmla="val 9891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dirty="0"/>
            </a:p>
          </p:txBody>
        </p:sp>
      </p:grpSp>
      <p:sp>
        <p:nvSpPr>
          <p:cNvPr id="99" name="Espace réservé du numéro de diapositive 1">
            <a:extLst>
              <a:ext uri="{FF2B5EF4-FFF2-40B4-BE49-F238E27FC236}">
                <a16:creationId xmlns:a16="http://schemas.microsoft.com/office/drawing/2014/main" id="{A1997D78-9A12-444B-A0B2-F4FD381E35A9}"/>
              </a:ext>
            </a:extLst>
          </p:cNvPr>
          <p:cNvSpPr txBox="1">
            <a:spLocks/>
          </p:cNvSpPr>
          <p:nvPr/>
        </p:nvSpPr>
        <p:spPr>
          <a:xfrm>
            <a:off x="9292085" y="6296927"/>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solidFill>
                <a:latin typeface="Lato"/>
              </a:rPr>
              <a:t>9</a:t>
            </a:r>
          </a:p>
        </p:txBody>
      </p:sp>
      <p:sp>
        <p:nvSpPr>
          <p:cNvPr id="100" name="ZoneTexte 54">
            <a:extLst>
              <a:ext uri="{FF2B5EF4-FFF2-40B4-BE49-F238E27FC236}">
                <a16:creationId xmlns:a16="http://schemas.microsoft.com/office/drawing/2014/main" id="{1EB769E5-B687-4117-8216-81780C7D7D11}"/>
              </a:ext>
            </a:extLst>
          </p:cNvPr>
          <p:cNvSpPr txBox="1"/>
          <p:nvPr/>
        </p:nvSpPr>
        <p:spPr>
          <a:xfrm>
            <a:off x="3313190" y="74184"/>
            <a:ext cx="2024481"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Contexte Général</a:t>
            </a:r>
          </a:p>
          <a:p>
            <a:r>
              <a:rPr lang="it-IT" dirty="0"/>
              <a:t> du projet</a:t>
            </a:r>
          </a:p>
        </p:txBody>
      </p:sp>
      <p:cxnSp>
        <p:nvCxnSpPr>
          <p:cNvPr id="101" name="Connecteur droit 57">
            <a:extLst>
              <a:ext uri="{FF2B5EF4-FFF2-40B4-BE49-F238E27FC236}">
                <a16:creationId xmlns:a16="http://schemas.microsoft.com/office/drawing/2014/main" id="{FD0AE152-642A-4463-8A8E-2BCD7B97F60B}"/>
              </a:ext>
            </a:extLst>
          </p:cNvPr>
          <p:cNvCxnSpPr>
            <a:cxnSpLocks/>
          </p:cNvCxnSpPr>
          <p:nvPr/>
        </p:nvCxnSpPr>
        <p:spPr>
          <a:xfrm>
            <a:off x="5337671" y="397350"/>
            <a:ext cx="1096007" cy="0"/>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6422107"/>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91"/>
                                        </p:tgtEl>
                                      </p:cBhvr>
                                    </p:animEffect>
                                    <p:animScale>
                                      <p:cBhvr>
                                        <p:cTn id="7" dur="250" autoRev="1" fill="hold"/>
                                        <p:tgtEl>
                                          <p:spTgt spid="91"/>
                                        </p:tgtEl>
                                      </p:cBhvr>
                                      <p:by x="105000" y="105000"/>
                                    </p:animScale>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000"/>
                            </p:stCondLst>
                            <p:childTnLst>
                              <p:par>
                                <p:cTn id="13" presetID="32" presetClass="emph" presetSubtype="0" fill="hold" nodeType="afterEffect">
                                  <p:stCondLst>
                                    <p:cond delay="0"/>
                                  </p:stCondLst>
                                  <p:childTnLst>
                                    <p:animRot by="120000">
                                      <p:cBhvr>
                                        <p:cTn id="14" dur="100" fill="hold">
                                          <p:stCondLst>
                                            <p:cond delay="0"/>
                                          </p:stCondLst>
                                        </p:cTn>
                                        <p:tgtEl>
                                          <p:spTgt spid="12"/>
                                        </p:tgtEl>
                                        <p:attrNameLst>
                                          <p:attrName>r</p:attrName>
                                        </p:attrNameLst>
                                      </p:cBhvr>
                                    </p:animRot>
                                    <p:animRot by="-240000">
                                      <p:cBhvr>
                                        <p:cTn id="15" dur="200" fill="hold">
                                          <p:stCondLst>
                                            <p:cond delay="200"/>
                                          </p:stCondLst>
                                        </p:cTn>
                                        <p:tgtEl>
                                          <p:spTgt spid="12"/>
                                        </p:tgtEl>
                                        <p:attrNameLst>
                                          <p:attrName>r</p:attrName>
                                        </p:attrNameLst>
                                      </p:cBhvr>
                                    </p:animRot>
                                    <p:animRot by="240000">
                                      <p:cBhvr>
                                        <p:cTn id="16" dur="200" fill="hold">
                                          <p:stCondLst>
                                            <p:cond delay="400"/>
                                          </p:stCondLst>
                                        </p:cTn>
                                        <p:tgtEl>
                                          <p:spTgt spid="12"/>
                                        </p:tgtEl>
                                        <p:attrNameLst>
                                          <p:attrName>r</p:attrName>
                                        </p:attrNameLst>
                                      </p:cBhvr>
                                    </p:animRot>
                                    <p:animRot by="-240000">
                                      <p:cBhvr>
                                        <p:cTn id="17" dur="200" fill="hold">
                                          <p:stCondLst>
                                            <p:cond delay="600"/>
                                          </p:stCondLst>
                                        </p:cTn>
                                        <p:tgtEl>
                                          <p:spTgt spid="12"/>
                                        </p:tgtEl>
                                        <p:attrNameLst>
                                          <p:attrName>r</p:attrName>
                                        </p:attrNameLst>
                                      </p:cBhvr>
                                    </p:animRot>
                                    <p:animRot by="120000">
                                      <p:cBhvr>
                                        <p:cTn id="18" dur="200" fill="hold">
                                          <p:stCondLst>
                                            <p:cond delay="800"/>
                                          </p:stCondLst>
                                        </p:cTn>
                                        <p:tgtEl>
                                          <p:spTgt spid="12"/>
                                        </p:tgtEl>
                                        <p:attrNameLst>
                                          <p:attrName>r</p:attrName>
                                        </p:attrNameLst>
                                      </p:cBhvr>
                                    </p:animRot>
                                  </p:childTnLst>
                                </p:cTn>
                              </p:par>
                              <p:par>
                                <p:cTn id="19" presetID="10"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10"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10" presetClass="entr" presetSubtype="0" fill="hold"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64"/>
                                        </p:tgtEl>
                                        <p:attrNameLst>
                                          <p:attrName>style.visibility</p:attrName>
                                        </p:attrNameLst>
                                      </p:cBhvr>
                                      <p:to>
                                        <p:strVal val="visible"/>
                                      </p:to>
                                    </p:set>
                                    <p:animEffect transition="in" filter="fade">
                                      <p:cBhvr>
                                        <p:cTn id="35" dur="1000"/>
                                        <p:tgtEl>
                                          <p:spTgt spid="64"/>
                                        </p:tgtEl>
                                      </p:cBhvr>
                                    </p:animEffect>
                                    <p:anim calcmode="lin" valueType="num">
                                      <p:cBhvr>
                                        <p:cTn id="36" dur="1000" fill="hold"/>
                                        <p:tgtEl>
                                          <p:spTgt spid="64"/>
                                        </p:tgtEl>
                                        <p:attrNameLst>
                                          <p:attrName>ppt_x</p:attrName>
                                        </p:attrNameLst>
                                      </p:cBhvr>
                                      <p:tavLst>
                                        <p:tav tm="0">
                                          <p:val>
                                            <p:strVal val="#ppt_x"/>
                                          </p:val>
                                        </p:tav>
                                        <p:tav tm="100000">
                                          <p:val>
                                            <p:strVal val="#ppt_x"/>
                                          </p:val>
                                        </p:tav>
                                      </p:tavLst>
                                    </p:anim>
                                    <p:anim calcmode="lin" valueType="num">
                                      <p:cBhvr>
                                        <p:cTn id="37" dur="1000" fill="hold"/>
                                        <p:tgtEl>
                                          <p:spTgt spid="64"/>
                                        </p:tgtEl>
                                        <p:attrNameLst>
                                          <p:attrName>ppt_y</p:attrName>
                                        </p:attrNameLst>
                                      </p:cBhvr>
                                      <p:tavLst>
                                        <p:tav tm="0">
                                          <p:val>
                                            <p:strVal val="#ppt_y+.1"/>
                                          </p:val>
                                        </p:tav>
                                        <p:tav tm="100000">
                                          <p:val>
                                            <p:strVal val="#ppt_y"/>
                                          </p:val>
                                        </p:tav>
                                      </p:tavLst>
                                    </p:anim>
                                  </p:childTnLst>
                                </p:cTn>
                              </p:par>
                            </p:childTnLst>
                          </p:cTn>
                        </p:par>
                        <p:par>
                          <p:cTn id="38" fill="hold">
                            <p:stCondLst>
                              <p:cond delay="1000"/>
                            </p:stCondLst>
                            <p:childTnLst>
                              <p:par>
                                <p:cTn id="39" presetID="14" presetClass="entr" presetSubtype="10" fill="hold" grpId="0" nodeType="afterEffect">
                                  <p:stCondLst>
                                    <p:cond delay="0"/>
                                  </p:stCondLst>
                                  <p:childTnLst>
                                    <p:set>
                                      <p:cBhvr>
                                        <p:cTn id="40" dur="1" fill="hold">
                                          <p:stCondLst>
                                            <p:cond delay="0"/>
                                          </p:stCondLst>
                                        </p:cTn>
                                        <p:tgtEl>
                                          <p:spTgt spid="84"/>
                                        </p:tgtEl>
                                        <p:attrNameLst>
                                          <p:attrName>style.visibility</p:attrName>
                                        </p:attrNameLst>
                                      </p:cBhvr>
                                      <p:to>
                                        <p:strVal val="visible"/>
                                      </p:to>
                                    </p:set>
                                    <p:animEffect transition="in" filter="randombar(horizontal)">
                                      <p:cBhvr>
                                        <p:cTn id="41" dur="250"/>
                                        <p:tgtEl>
                                          <p:spTgt spid="84"/>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2" fill="hold" nodeType="clickEffect">
                                  <p:stCondLst>
                                    <p:cond delay="0"/>
                                  </p:stCondLst>
                                  <p:childTnLst>
                                    <p:set>
                                      <p:cBhvr>
                                        <p:cTn id="45" dur="1" fill="hold">
                                          <p:stCondLst>
                                            <p:cond delay="0"/>
                                          </p:stCondLst>
                                        </p:cTn>
                                        <p:tgtEl>
                                          <p:spTgt spid="80"/>
                                        </p:tgtEl>
                                        <p:attrNameLst>
                                          <p:attrName>style.visibility</p:attrName>
                                        </p:attrNameLst>
                                      </p:cBhvr>
                                      <p:to>
                                        <p:strVal val="visible"/>
                                      </p:to>
                                    </p:set>
                                    <p:animEffect transition="in" filter="wipe(right)">
                                      <p:cBhvr>
                                        <p:cTn id="46" dur="500"/>
                                        <p:tgtEl>
                                          <p:spTgt spid="80"/>
                                        </p:tgtEl>
                                      </p:cBhvr>
                                    </p:animEffect>
                                  </p:childTnLst>
                                </p:cTn>
                              </p:par>
                            </p:childTnLst>
                          </p:cTn>
                        </p:par>
                        <p:par>
                          <p:cTn id="47" fill="hold">
                            <p:stCondLst>
                              <p:cond delay="500"/>
                            </p:stCondLst>
                            <p:childTnLst>
                              <p:par>
                                <p:cTn id="48" presetID="10" presetClass="entr" presetSubtype="0" fill="hold" grpId="0" nodeType="afterEffect">
                                  <p:stCondLst>
                                    <p:cond delay="0"/>
                                  </p:stCondLst>
                                  <p:childTnLst>
                                    <p:set>
                                      <p:cBhvr>
                                        <p:cTn id="49" dur="1" fill="hold">
                                          <p:stCondLst>
                                            <p:cond delay="0"/>
                                          </p:stCondLst>
                                        </p:cTn>
                                        <p:tgtEl>
                                          <p:spTgt spid="66"/>
                                        </p:tgtEl>
                                        <p:attrNameLst>
                                          <p:attrName>style.visibility</p:attrName>
                                        </p:attrNameLst>
                                      </p:cBhvr>
                                      <p:to>
                                        <p:strVal val="visible"/>
                                      </p:to>
                                    </p:set>
                                    <p:animEffect transition="in" filter="fade">
                                      <p:cBhvr>
                                        <p:cTn id="50" dur="500"/>
                                        <p:tgtEl>
                                          <p:spTgt spid="66"/>
                                        </p:tgtEl>
                                      </p:cBhvr>
                                    </p:animEffect>
                                  </p:childTnLst>
                                </p:cTn>
                              </p:par>
                            </p:childTnLst>
                          </p:cTn>
                        </p:par>
                        <p:par>
                          <p:cTn id="51" fill="hold">
                            <p:stCondLst>
                              <p:cond delay="1000"/>
                            </p:stCondLst>
                            <p:childTnLst>
                              <p:par>
                                <p:cTn id="52" presetID="22" presetClass="entr" presetSubtype="4" fill="hold" grpId="0" nodeType="afterEffect">
                                  <p:stCondLst>
                                    <p:cond delay="0"/>
                                  </p:stCondLst>
                                  <p:childTnLst>
                                    <p:set>
                                      <p:cBhvr>
                                        <p:cTn id="53" dur="1" fill="hold">
                                          <p:stCondLst>
                                            <p:cond delay="0"/>
                                          </p:stCondLst>
                                        </p:cTn>
                                        <p:tgtEl>
                                          <p:spTgt spid="65">
                                            <p:txEl>
                                              <p:pRg st="0" end="0"/>
                                            </p:txEl>
                                          </p:spTgt>
                                        </p:tgtEl>
                                        <p:attrNameLst>
                                          <p:attrName>style.visibility</p:attrName>
                                        </p:attrNameLst>
                                      </p:cBhvr>
                                      <p:to>
                                        <p:strVal val="visible"/>
                                      </p:to>
                                    </p:set>
                                    <p:animEffect transition="in" filter="wipe(down)">
                                      <p:cBhvr>
                                        <p:cTn id="54" dur="500"/>
                                        <p:tgtEl>
                                          <p:spTgt spid="65">
                                            <p:txEl>
                                              <p:pRg st="0" end="0"/>
                                            </p:txEl>
                                          </p:spTgt>
                                        </p:tgtEl>
                                      </p:cBhvr>
                                    </p:animEffect>
                                  </p:childTnLst>
                                </p:cTn>
                              </p:par>
                            </p:childTnLst>
                          </p:cTn>
                        </p:par>
                        <p:par>
                          <p:cTn id="55" fill="hold">
                            <p:stCondLst>
                              <p:cond delay="1500"/>
                            </p:stCondLst>
                            <p:childTnLst>
                              <p:par>
                                <p:cTn id="56" presetID="22" presetClass="entr" presetSubtype="4" fill="hold" grpId="0" nodeType="afterEffect">
                                  <p:stCondLst>
                                    <p:cond delay="0"/>
                                  </p:stCondLst>
                                  <p:childTnLst>
                                    <p:set>
                                      <p:cBhvr>
                                        <p:cTn id="57" dur="1" fill="hold">
                                          <p:stCondLst>
                                            <p:cond delay="0"/>
                                          </p:stCondLst>
                                        </p:cTn>
                                        <p:tgtEl>
                                          <p:spTgt spid="65">
                                            <p:txEl>
                                              <p:pRg st="1" end="1"/>
                                            </p:txEl>
                                          </p:spTgt>
                                        </p:tgtEl>
                                        <p:attrNameLst>
                                          <p:attrName>style.visibility</p:attrName>
                                        </p:attrNameLst>
                                      </p:cBhvr>
                                      <p:to>
                                        <p:strVal val="visible"/>
                                      </p:to>
                                    </p:set>
                                    <p:animEffect transition="in" filter="wipe(down)">
                                      <p:cBhvr>
                                        <p:cTn id="58" dur="500"/>
                                        <p:tgtEl>
                                          <p:spTgt spid="65">
                                            <p:txEl>
                                              <p:pRg st="1" end="1"/>
                                            </p:txEl>
                                          </p:spTgt>
                                        </p:tgtEl>
                                      </p:cBhvr>
                                    </p:animEffect>
                                  </p:childTnLst>
                                </p:cTn>
                              </p:par>
                            </p:childTnLst>
                          </p:cTn>
                        </p:par>
                        <p:par>
                          <p:cTn id="59" fill="hold">
                            <p:stCondLst>
                              <p:cond delay="2000"/>
                            </p:stCondLst>
                            <p:childTnLst>
                              <p:par>
                                <p:cTn id="60" presetID="22" presetClass="entr" presetSubtype="4" fill="hold" grpId="0" nodeType="afterEffect">
                                  <p:stCondLst>
                                    <p:cond delay="0"/>
                                  </p:stCondLst>
                                  <p:childTnLst>
                                    <p:set>
                                      <p:cBhvr>
                                        <p:cTn id="61" dur="1" fill="hold">
                                          <p:stCondLst>
                                            <p:cond delay="0"/>
                                          </p:stCondLst>
                                        </p:cTn>
                                        <p:tgtEl>
                                          <p:spTgt spid="65">
                                            <p:txEl>
                                              <p:pRg st="2" end="2"/>
                                            </p:txEl>
                                          </p:spTgt>
                                        </p:tgtEl>
                                        <p:attrNameLst>
                                          <p:attrName>style.visibility</p:attrName>
                                        </p:attrNameLst>
                                      </p:cBhvr>
                                      <p:to>
                                        <p:strVal val="visible"/>
                                      </p:to>
                                    </p:set>
                                    <p:animEffect transition="in" filter="wipe(down)">
                                      <p:cBhvr>
                                        <p:cTn id="62" dur="500"/>
                                        <p:tgtEl>
                                          <p:spTgt spid="65">
                                            <p:txEl>
                                              <p:pRg st="2" end="2"/>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2" fill="hold" nodeType="clickEffect">
                                  <p:stCondLst>
                                    <p:cond delay="0"/>
                                  </p:stCondLst>
                                  <p:childTnLst>
                                    <p:set>
                                      <p:cBhvr>
                                        <p:cTn id="66" dur="1" fill="hold">
                                          <p:stCondLst>
                                            <p:cond delay="0"/>
                                          </p:stCondLst>
                                        </p:cTn>
                                        <p:tgtEl>
                                          <p:spTgt spid="72"/>
                                        </p:tgtEl>
                                        <p:attrNameLst>
                                          <p:attrName>style.visibility</p:attrName>
                                        </p:attrNameLst>
                                      </p:cBhvr>
                                      <p:to>
                                        <p:strVal val="visible"/>
                                      </p:to>
                                    </p:set>
                                    <p:animEffect transition="in" filter="wipe(right)">
                                      <p:cBhvr>
                                        <p:cTn id="67" dur="500"/>
                                        <p:tgtEl>
                                          <p:spTgt spid="72"/>
                                        </p:tgtEl>
                                      </p:cBhvr>
                                    </p:animEffect>
                                  </p:childTnLst>
                                </p:cTn>
                              </p:par>
                            </p:childTnLst>
                          </p:cTn>
                        </p:par>
                        <p:par>
                          <p:cTn id="68" fill="hold">
                            <p:stCondLst>
                              <p:cond delay="500"/>
                            </p:stCondLst>
                            <p:childTnLst>
                              <p:par>
                                <p:cTn id="69" presetID="10" presetClass="entr" presetSubtype="0" fill="hold" grpId="0" nodeType="afterEffect">
                                  <p:stCondLst>
                                    <p:cond delay="0"/>
                                  </p:stCondLst>
                                  <p:childTnLst>
                                    <p:set>
                                      <p:cBhvr>
                                        <p:cTn id="70" dur="1" fill="hold">
                                          <p:stCondLst>
                                            <p:cond delay="0"/>
                                          </p:stCondLst>
                                        </p:cTn>
                                        <p:tgtEl>
                                          <p:spTgt spid="68"/>
                                        </p:tgtEl>
                                        <p:attrNameLst>
                                          <p:attrName>style.visibility</p:attrName>
                                        </p:attrNameLst>
                                      </p:cBhvr>
                                      <p:to>
                                        <p:strVal val="visible"/>
                                      </p:to>
                                    </p:set>
                                    <p:animEffect transition="in" filter="fade">
                                      <p:cBhvr>
                                        <p:cTn id="71" dur="500"/>
                                        <p:tgtEl>
                                          <p:spTgt spid="68"/>
                                        </p:tgtEl>
                                      </p:cBhvr>
                                    </p:animEffect>
                                  </p:childTnLst>
                                </p:cTn>
                              </p:par>
                            </p:childTnLst>
                          </p:cTn>
                        </p:par>
                        <p:par>
                          <p:cTn id="72" fill="hold">
                            <p:stCondLst>
                              <p:cond delay="1000"/>
                            </p:stCondLst>
                            <p:childTnLst>
                              <p:par>
                                <p:cTn id="73" presetID="22" presetClass="entr" presetSubtype="4" fill="hold" grpId="0" nodeType="afterEffect">
                                  <p:stCondLst>
                                    <p:cond delay="0"/>
                                  </p:stCondLst>
                                  <p:childTnLst>
                                    <p:set>
                                      <p:cBhvr>
                                        <p:cTn id="74" dur="1" fill="hold">
                                          <p:stCondLst>
                                            <p:cond delay="0"/>
                                          </p:stCondLst>
                                        </p:cTn>
                                        <p:tgtEl>
                                          <p:spTgt spid="67">
                                            <p:txEl>
                                              <p:pRg st="0" end="0"/>
                                            </p:txEl>
                                          </p:spTgt>
                                        </p:tgtEl>
                                        <p:attrNameLst>
                                          <p:attrName>style.visibility</p:attrName>
                                        </p:attrNameLst>
                                      </p:cBhvr>
                                      <p:to>
                                        <p:strVal val="visible"/>
                                      </p:to>
                                    </p:set>
                                    <p:animEffect transition="in" filter="wipe(down)">
                                      <p:cBhvr>
                                        <p:cTn id="75" dur="500"/>
                                        <p:tgtEl>
                                          <p:spTgt spid="67">
                                            <p:txEl>
                                              <p:pRg st="0" end="0"/>
                                            </p:txEl>
                                          </p:spTgt>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grpId="0" nodeType="clickEffect">
                                  <p:stCondLst>
                                    <p:cond delay="0"/>
                                  </p:stCondLst>
                                  <p:childTnLst>
                                    <p:set>
                                      <p:cBhvr>
                                        <p:cTn id="79" dur="1" fill="hold">
                                          <p:stCondLst>
                                            <p:cond delay="0"/>
                                          </p:stCondLst>
                                        </p:cTn>
                                        <p:tgtEl>
                                          <p:spTgt spid="67">
                                            <p:txEl>
                                              <p:pRg st="1" end="1"/>
                                            </p:txEl>
                                          </p:spTgt>
                                        </p:tgtEl>
                                        <p:attrNameLst>
                                          <p:attrName>style.visibility</p:attrName>
                                        </p:attrNameLst>
                                      </p:cBhvr>
                                      <p:to>
                                        <p:strVal val="visible"/>
                                      </p:to>
                                    </p:set>
                                    <p:animEffect transition="in" filter="wipe(down)">
                                      <p:cBhvr>
                                        <p:cTn id="80" dur="500"/>
                                        <p:tgtEl>
                                          <p:spTgt spid="67">
                                            <p:txEl>
                                              <p:pRg st="1" end="1"/>
                                            </p:txEl>
                                          </p:spTgt>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2" fill="hold" nodeType="clickEffect">
                                  <p:stCondLst>
                                    <p:cond delay="0"/>
                                  </p:stCondLst>
                                  <p:childTnLst>
                                    <p:set>
                                      <p:cBhvr>
                                        <p:cTn id="84" dur="1" fill="hold">
                                          <p:stCondLst>
                                            <p:cond delay="0"/>
                                          </p:stCondLst>
                                        </p:cTn>
                                        <p:tgtEl>
                                          <p:spTgt spid="71"/>
                                        </p:tgtEl>
                                        <p:attrNameLst>
                                          <p:attrName>style.visibility</p:attrName>
                                        </p:attrNameLst>
                                      </p:cBhvr>
                                      <p:to>
                                        <p:strVal val="visible"/>
                                      </p:to>
                                    </p:set>
                                    <p:animEffect transition="in" filter="wipe(right)">
                                      <p:cBhvr>
                                        <p:cTn id="85" dur="500"/>
                                        <p:tgtEl>
                                          <p:spTgt spid="71"/>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70"/>
                                        </p:tgtEl>
                                        <p:attrNameLst>
                                          <p:attrName>style.visibility</p:attrName>
                                        </p:attrNameLst>
                                      </p:cBhvr>
                                      <p:to>
                                        <p:strVal val="visible"/>
                                      </p:to>
                                    </p:set>
                                    <p:animEffect transition="in" filter="fade">
                                      <p:cBhvr>
                                        <p:cTn id="89" dur="500"/>
                                        <p:tgtEl>
                                          <p:spTgt spid="70"/>
                                        </p:tgtEl>
                                      </p:cBhvr>
                                    </p:animEffect>
                                  </p:childTnLst>
                                </p:cTn>
                              </p:par>
                            </p:childTnLst>
                          </p:cTn>
                        </p:par>
                        <p:par>
                          <p:cTn id="90" fill="hold">
                            <p:stCondLst>
                              <p:cond delay="1000"/>
                            </p:stCondLst>
                            <p:childTnLst>
                              <p:par>
                                <p:cTn id="91" presetID="22" presetClass="entr" presetSubtype="4" fill="hold" grpId="0" nodeType="afterEffect">
                                  <p:stCondLst>
                                    <p:cond delay="0"/>
                                  </p:stCondLst>
                                  <p:childTnLst>
                                    <p:set>
                                      <p:cBhvr>
                                        <p:cTn id="92" dur="1" fill="hold">
                                          <p:stCondLst>
                                            <p:cond delay="0"/>
                                          </p:stCondLst>
                                        </p:cTn>
                                        <p:tgtEl>
                                          <p:spTgt spid="69">
                                            <p:txEl>
                                              <p:pRg st="1" end="1"/>
                                            </p:txEl>
                                          </p:spTgt>
                                        </p:tgtEl>
                                        <p:attrNameLst>
                                          <p:attrName>style.visibility</p:attrName>
                                        </p:attrNameLst>
                                      </p:cBhvr>
                                      <p:to>
                                        <p:strVal val="visible"/>
                                      </p:to>
                                    </p:set>
                                    <p:animEffect transition="in" filter="wipe(down)">
                                      <p:cBhvr>
                                        <p:cTn id="93" dur="500"/>
                                        <p:tgtEl>
                                          <p:spTgt spid="69">
                                            <p:txEl>
                                              <p:pRg st="1" end="1"/>
                                            </p:txEl>
                                          </p:spTgt>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4" fill="hold" grpId="0" nodeType="clickEffect">
                                  <p:stCondLst>
                                    <p:cond delay="0"/>
                                  </p:stCondLst>
                                  <p:childTnLst>
                                    <p:set>
                                      <p:cBhvr>
                                        <p:cTn id="97" dur="1" fill="hold">
                                          <p:stCondLst>
                                            <p:cond delay="0"/>
                                          </p:stCondLst>
                                        </p:cTn>
                                        <p:tgtEl>
                                          <p:spTgt spid="69">
                                            <p:txEl>
                                              <p:pRg st="2" end="2"/>
                                            </p:txEl>
                                          </p:spTgt>
                                        </p:tgtEl>
                                        <p:attrNameLst>
                                          <p:attrName>style.visibility</p:attrName>
                                        </p:attrNameLst>
                                      </p:cBhvr>
                                      <p:to>
                                        <p:strVal val="visible"/>
                                      </p:to>
                                    </p:set>
                                    <p:animEffect transition="in" filter="wipe(down)">
                                      <p:cBhvr>
                                        <p:cTn id="98" dur="500"/>
                                        <p:tgtEl>
                                          <p:spTgt spid="69">
                                            <p:txEl>
                                              <p:pRg st="2" end="2"/>
                                            </p:txEl>
                                          </p:spTgt>
                                        </p:tgtEl>
                                      </p:cBhvr>
                                    </p:animEffect>
                                  </p:childTnLst>
                                </p:cTn>
                              </p:par>
                            </p:childTnLst>
                          </p:cTn>
                        </p:par>
                      </p:childTnLst>
                    </p:cTn>
                  </p:par>
                  <p:par>
                    <p:cTn id="99" fill="hold">
                      <p:stCondLst>
                        <p:cond delay="indefinite"/>
                      </p:stCondLst>
                      <p:childTnLst>
                        <p:par>
                          <p:cTn id="100" fill="hold">
                            <p:stCondLst>
                              <p:cond delay="0"/>
                            </p:stCondLst>
                            <p:childTnLst>
                              <p:par>
                                <p:cTn id="101" presetID="22" presetClass="entr" presetSubtype="8" fill="hold" nodeType="clickEffect">
                                  <p:stCondLst>
                                    <p:cond delay="0"/>
                                  </p:stCondLst>
                                  <p:childTnLst>
                                    <p:set>
                                      <p:cBhvr>
                                        <p:cTn id="102" dur="1" fill="hold">
                                          <p:stCondLst>
                                            <p:cond delay="0"/>
                                          </p:stCondLst>
                                        </p:cTn>
                                        <p:tgtEl>
                                          <p:spTgt spid="83"/>
                                        </p:tgtEl>
                                        <p:attrNameLst>
                                          <p:attrName>style.visibility</p:attrName>
                                        </p:attrNameLst>
                                      </p:cBhvr>
                                      <p:to>
                                        <p:strVal val="visible"/>
                                      </p:to>
                                    </p:set>
                                    <p:animEffect transition="in" filter="wipe(left)">
                                      <p:cBhvr>
                                        <p:cTn id="103" dur="500"/>
                                        <p:tgtEl>
                                          <p:spTgt spid="83"/>
                                        </p:tgtEl>
                                      </p:cBhvr>
                                    </p:animEffect>
                                  </p:childTnLst>
                                </p:cTn>
                              </p:par>
                            </p:childTnLst>
                          </p:cTn>
                        </p:par>
                        <p:par>
                          <p:cTn id="104" fill="hold">
                            <p:stCondLst>
                              <p:cond delay="500"/>
                            </p:stCondLst>
                            <p:childTnLst>
                              <p:par>
                                <p:cTn id="105" presetID="10" presetClass="entr" presetSubtype="0" fill="hold" grpId="0" nodeType="afterEffect">
                                  <p:stCondLst>
                                    <p:cond delay="0"/>
                                  </p:stCondLst>
                                  <p:childTnLst>
                                    <p:set>
                                      <p:cBhvr>
                                        <p:cTn id="106" dur="1" fill="hold">
                                          <p:stCondLst>
                                            <p:cond delay="0"/>
                                          </p:stCondLst>
                                        </p:cTn>
                                        <p:tgtEl>
                                          <p:spTgt spid="74"/>
                                        </p:tgtEl>
                                        <p:attrNameLst>
                                          <p:attrName>style.visibility</p:attrName>
                                        </p:attrNameLst>
                                      </p:cBhvr>
                                      <p:to>
                                        <p:strVal val="visible"/>
                                      </p:to>
                                    </p:set>
                                    <p:animEffect transition="in" filter="fade">
                                      <p:cBhvr>
                                        <p:cTn id="107" dur="500"/>
                                        <p:tgtEl>
                                          <p:spTgt spid="74"/>
                                        </p:tgtEl>
                                      </p:cBhvr>
                                    </p:animEffect>
                                  </p:childTnLst>
                                </p:cTn>
                              </p:par>
                            </p:childTnLst>
                          </p:cTn>
                        </p:par>
                        <p:par>
                          <p:cTn id="108" fill="hold">
                            <p:stCondLst>
                              <p:cond delay="1000"/>
                            </p:stCondLst>
                            <p:childTnLst>
                              <p:par>
                                <p:cTn id="109" presetID="22" presetClass="entr" presetSubtype="4" fill="hold" grpId="0" nodeType="afterEffect">
                                  <p:stCondLst>
                                    <p:cond delay="0"/>
                                  </p:stCondLst>
                                  <p:childTnLst>
                                    <p:set>
                                      <p:cBhvr>
                                        <p:cTn id="110" dur="1" fill="hold">
                                          <p:stCondLst>
                                            <p:cond delay="0"/>
                                          </p:stCondLst>
                                        </p:cTn>
                                        <p:tgtEl>
                                          <p:spTgt spid="73">
                                            <p:txEl>
                                              <p:pRg st="0" end="0"/>
                                            </p:txEl>
                                          </p:spTgt>
                                        </p:tgtEl>
                                        <p:attrNameLst>
                                          <p:attrName>style.visibility</p:attrName>
                                        </p:attrNameLst>
                                      </p:cBhvr>
                                      <p:to>
                                        <p:strVal val="visible"/>
                                      </p:to>
                                    </p:set>
                                    <p:animEffect transition="in" filter="wipe(down)">
                                      <p:cBhvr>
                                        <p:cTn id="111" dur="500"/>
                                        <p:tgtEl>
                                          <p:spTgt spid="73">
                                            <p:txEl>
                                              <p:pRg st="0" end="0"/>
                                            </p:txEl>
                                          </p:spTgt>
                                        </p:tgtEl>
                                      </p:cBhvr>
                                    </p:animEffect>
                                  </p:childTnLst>
                                </p:cTn>
                              </p:par>
                            </p:childTnLst>
                          </p:cTn>
                        </p:par>
                      </p:childTnLst>
                    </p:cTn>
                  </p:par>
                  <p:par>
                    <p:cTn id="112" fill="hold">
                      <p:stCondLst>
                        <p:cond delay="indefinite"/>
                      </p:stCondLst>
                      <p:childTnLst>
                        <p:par>
                          <p:cTn id="113" fill="hold">
                            <p:stCondLst>
                              <p:cond delay="0"/>
                            </p:stCondLst>
                            <p:childTnLst>
                              <p:par>
                                <p:cTn id="114" presetID="22" presetClass="entr" presetSubtype="8" fill="hold" nodeType="clickEffect">
                                  <p:stCondLst>
                                    <p:cond delay="0"/>
                                  </p:stCondLst>
                                  <p:childTnLst>
                                    <p:set>
                                      <p:cBhvr>
                                        <p:cTn id="115" dur="1" fill="hold">
                                          <p:stCondLst>
                                            <p:cond delay="0"/>
                                          </p:stCondLst>
                                        </p:cTn>
                                        <p:tgtEl>
                                          <p:spTgt spid="81"/>
                                        </p:tgtEl>
                                        <p:attrNameLst>
                                          <p:attrName>style.visibility</p:attrName>
                                        </p:attrNameLst>
                                      </p:cBhvr>
                                      <p:to>
                                        <p:strVal val="visible"/>
                                      </p:to>
                                    </p:set>
                                    <p:animEffect transition="in" filter="wipe(left)">
                                      <p:cBhvr>
                                        <p:cTn id="116" dur="500"/>
                                        <p:tgtEl>
                                          <p:spTgt spid="81"/>
                                        </p:tgtEl>
                                      </p:cBhvr>
                                    </p:animEffect>
                                  </p:childTnLst>
                                </p:cTn>
                              </p:par>
                            </p:childTnLst>
                          </p:cTn>
                        </p:par>
                        <p:par>
                          <p:cTn id="117" fill="hold">
                            <p:stCondLst>
                              <p:cond delay="500"/>
                            </p:stCondLst>
                            <p:childTnLst>
                              <p:par>
                                <p:cTn id="118" presetID="10" presetClass="entr" presetSubtype="0" fill="hold" grpId="0" nodeType="afterEffect">
                                  <p:stCondLst>
                                    <p:cond delay="0"/>
                                  </p:stCondLst>
                                  <p:childTnLst>
                                    <p:set>
                                      <p:cBhvr>
                                        <p:cTn id="119" dur="1" fill="hold">
                                          <p:stCondLst>
                                            <p:cond delay="0"/>
                                          </p:stCondLst>
                                        </p:cTn>
                                        <p:tgtEl>
                                          <p:spTgt spid="76"/>
                                        </p:tgtEl>
                                        <p:attrNameLst>
                                          <p:attrName>style.visibility</p:attrName>
                                        </p:attrNameLst>
                                      </p:cBhvr>
                                      <p:to>
                                        <p:strVal val="visible"/>
                                      </p:to>
                                    </p:set>
                                    <p:animEffect transition="in" filter="fade">
                                      <p:cBhvr>
                                        <p:cTn id="120" dur="500"/>
                                        <p:tgtEl>
                                          <p:spTgt spid="76"/>
                                        </p:tgtEl>
                                      </p:cBhvr>
                                    </p:animEffect>
                                  </p:childTnLst>
                                </p:cTn>
                              </p:par>
                            </p:childTnLst>
                          </p:cTn>
                        </p:par>
                        <p:par>
                          <p:cTn id="121" fill="hold">
                            <p:stCondLst>
                              <p:cond delay="1000"/>
                            </p:stCondLst>
                            <p:childTnLst>
                              <p:par>
                                <p:cTn id="122" presetID="22" presetClass="entr" presetSubtype="4" fill="hold" grpId="0" nodeType="afterEffect">
                                  <p:stCondLst>
                                    <p:cond delay="0"/>
                                  </p:stCondLst>
                                  <p:childTnLst>
                                    <p:set>
                                      <p:cBhvr>
                                        <p:cTn id="123" dur="1" fill="hold">
                                          <p:stCondLst>
                                            <p:cond delay="0"/>
                                          </p:stCondLst>
                                        </p:cTn>
                                        <p:tgtEl>
                                          <p:spTgt spid="75">
                                            <p:txEl>
                                              <p:pRg st="0" end="0"/>
                                            </p:txEl>
                                          </p:spTgt>
                                        </p:tgtEl>
                                        <p:attrNameLst>
                                          <p:attrName>style.visibility</p:attrName>
                                        </p:attrNameLst>
                                      </p:cBhvr>
                                      <p:to>
                                        <p:strVal val="visible"/>
                                      </p:to>
                                    </p:set>
                                    <p:animEffect transition="in" filter="wipe(down)">
                                      <p:cBhvr>
                                        <p:cTn id="124" dur="500"/>
                                        <p:tgtEl>
                                          <p:spTgt spid="75">
                                            <p:txEl>
                                              <p:pRg st="0" end="0"/>
                                            </p:txEl>
                                          </p:spTgt>
                                        </p:tgtEl>
                                      </p:cBhvr>
                                    </p:animEffect>
                                  </p:childTnLst>
                                </p:cTn>
                              </p:par>
                            </p:childTnLst>
                          </p:cTn>
                        </p:par>
                        <p:par>
                          <p:cTn id="125" fill="hold">
                            <p:stCondLst>
                              <p:cond delay="1500"/>
                            </p:stCondLst>
                            <p:childTnLst>
                              <p:par>
                                <p:cTn id="126" presetID="22" presetClass="entr" presetSubtype="4" fill="hold" grpId="0" nodeType="afterEffect">
                                  <p:stCondLst>
                                    <p:cond delay="0"/>
                                  </p:stCondLst>
                                  <p:childTnLst>
                                    <p:set>
                                      <p:cBhvr>
                                        <p:cTn id="127" dur="1" fill="hold">
                                          <p:stCondLst>
                                            <p:cond delay="0"/>
                                          </p:stCondLst>
                                        </p:cTn>
                                        <p:tgtEl>
                                          <p:spTgt spid="75">
                                            <p:txEl>
                                              <p:pRg st="1" end="1"/>
                                            </p:txEl>
                                          </p:spTgt>
                                        </p:tgtEl>
                                        <p:attrNameLst>
                                          <p:attrName>style.visibility</p:attrName>
                                        </p:attrNameLst>
                                      </p:cBhvr>
                                      <p:to>
                                        <p:strVal val="visible"/>
                                      </p:to>
                                    </p:set>
                                    <p:animEffect transition="in" filter="wipe(down)">
                                      <p:cBhvr>
                                        <p:cTn id="128" dur="500"/>
                                        <p:tgtEl>
                                          <p:spTgt spid="75">
                                            <p:txEl>
                                              <p:pRg st="1" end="1"/>
                                            </p:txEl>
                                          </p:spTgt>
                                        </p:tgtEl>
                                      </p:cBhvr>
                                    </p:animEffect>
                                  </p:childTnLst>
                                </p:cTn>
                              </p:par>
                            </p:childTnLst>
                          </p:cTn>
                        </p:par>
                      </p:childTnLst>
                    </p:cTn>
                  </p:par>
                  <p:par>
                    <p:cTn id="129" fill="hold">
                      <p:stCondLst>
                        <p:cond delay="indefinite"/>
                      </p:stCondLst>
                      <p:childTnLst>
                        <p:par>
                          <p:cTn id="130" fill="hold">
                            <p:stCondLst>
                              <p:cond delay="0"/>
                            </p:stCondLst>
                            <p:childTnLst>
                              <p:par>
                                <p:cTn id="131" presetID="22" presetClass="entr" presetSubtype="8" fill="hold" nodeType="clickEffect">
                                  <p:stCondLst>
                                    <p:cond delay="0"/>
                                  </p:stCondLst>
                                  <p:childTnLst>
                                    <p:set>
                                      <p:cBhvr>
                                        <p:cTn id="132" dur="1" fill="hold">
                                          <p:stCondLst>
                                            <p:cond delay="0"/>
                                          </p:stCondLst>
                                        </p:cTn>
                                        <p:tgtEl>
                                          <p:spTgt spid="82"/>
                                        </p:tgtEl>
                                        <p:attrNameLst>
                                          <p:attrName>style.visibility</p:attrName>
                                        </p:attrNameLst>
                                      </p:cBhvr>
                                      <p:to>
                                        <p:strVal val="visible"/>
                                      </p:to>
                                    </p:set>
                                    <p:animEffect transition="in" filter="wipe(left)">
                                      <p:cBhvr>
                                        <p:cTn id="133" dur="500"/>
                                        <p:tgtEl>
                                          <p:spTgt spid="82"/>
                                        </p:tgtEl>
                                      </p:cBhvr>
                                    </p:animEffect>
                                  </p:childTnLst>
                                </p:cTn>
                              </p:par>
                            </p:childTnLst>
                          </p:cTn>
                        </p:par>
                        <p:par>
                          <p:cTn id="134" fill="hold">
                            <p:stCondLst>
                              <p:cond delay="500"/>
                            </p:stCondLst>
                            <p:childTnLst>
                              <p:par>
                                <p:cTn id="135" presetID="10" presetClass="entr" presetSubtype="0" fill="hold" grpId="0" nodeType="afterEffect">
                                  <p:stCondLst>
                                    <p:cond delay="0"/>
                                  </p:stCondLst>
                                  <p:childTnLst>
                                    <p:set>
                                      <p:cBhvr>
                                        <p:cTn id="136" dur="1" fill="hold">
                                          <p:stCondLst>
                                            <p:cond delay="0"/>
                                          </p:stCondLst>
                                        </p:cTn>
                                        <p:tgtEl>
                                          <p:spTgt spid="79"/>
                                        </p:tgtEl>
                                        <p:attrNameLst>
                                          <p:attrName>style.visibility</p:attrName>
                                        </p:attrNameLst>
                                      </p:cBhvr>
                                      <p:to>
                                        <p:strVal val="visible"/>
                                      </p:to>
                                    </p:set>
                                    <p:animEffect transition="in" filter="fade">
                                      <p:cBhvr>
                                        <p:cTn id="137" dur="500"/>
                                        <p:tgtEl>
                                          <p:spTgt spid="79"/>
                                        </p:tgtEl>
                                      </p:cBhvr>
                                    </p:animEffect>
                                  </p:childTnLst>
                                </p:cTn>
                              </p:par>
                            </p:childTnLst>
                          </p:cTn>
                        </p:par>
                        <p:par>
                          <p:cTn id="138" fill="hold">
                            <p:stCondLst>
                              <p:cond delay="1000"/>
                            </p:stCondLst>
                            <p:childTnLst>
                              <p:par>
                                <p:cTn id="139" presetID="22" presetClass="entr" presetSubtype="4" fill="hold" grpId="0" nodeType="afterEffect">
                                  <p:stCondLst>
                                    <p:cond delay="0"/>
                                  </p:stCondLst>
                                  <p:childTnLst>
                                    <p:set>
                                      <p:cBhvr>
                                        <p:cTn id="140" dur="1" fill="hold">
                                          <p:stCondLst>
                                            <p:cond delay="0"/>
                                          </p:stCondLst>
                                        </p:cTn>
                                        <p:tgtEl>
                                          <p:spTgt spid="77">
                                            <p:txEl>
                                              <p:pRg st="0" end="0"/>
                                            </p:txEl>
                                          </p:spTgt>
                                        </p:tgtEl>
                                        <p:attrNameLst>
                                          <p:attrName>style.visibility</p:attrName>
                                        </p:attrNameLst>
                                      </p:cBhvr>
                                      <p:to>
                                        <p:strVal val="visible"/>
                                      </p:to>
                                    </p:set>
                                    <p:animEffect transition="in" filter="wipe(down)">
                                      <p:cBhvr>
                                        <p:cTn id="141" dur="500"/>
                                        <p:tgtEl>
                                          <p:spTgt spid="77">
                                            <p:txEl>
                                              <p:pRg st="0" end="0"/>
                                            </p:txEl>
                                          </p:spTgt>
                                        </p:tgtEl>
                                      </p:cBhvr>
                                    </p:animEffect>
                                  </p:childTnLst>
                                </p:cTn>
                              </p:par>
                            </p:childTnLst>
                          </p:cTn>
                        </p:par>
                        <p:par>
                          <p:cTn id="142" fill="hold">
                            <p:stCondLst>
                              <p:cond delay="1500"/>
                            </p:stCondLst>
                            <p:childTnLst>
                              <p:par>
                                <p:cTn id="143" presetID="22" presetClass="entr" presetSubtype="4" fill="hold" grpId="0" nodeType="afterEffect">
                                  <p:stCondLst>
                                    <p:cond delay="0"/>
                                  </p:stCondLst>
                                  <p:childTnLst>
                                    <p:set>
                                      <p:cBhvr>
                                        <p:cTn id="144" dur="1" fill="hold">
                                          <p:stCondLst>
                                            <p:cond delay="0"/>
                                          </p:stCondLst>
                                        </p:cTn>
                                        <p:tgtEl>
                                          <p:spTgt spid="77">
                                            <p:txEl>
                                              <p:pRg st="1" end="1"/>
                                            </p:txEl>
                                          </p:spTgt>
                                        </p:tgtEl>
                                        <p:attrNameLst>
                                          <p:attrName>style.visibility</p:attrName>
                                        </p:attrNameLst>
                                      </p:cBhvr>
                                      <p:to>
                                        <p:strVal val="visible"/>
                                      </p:to>
                                    </p:set>
                                    <p:animEffect transition="in" filter="wipe(down)">
                                      <p:cBhvr>
                                        <p:cTn id="145" dur="500"/>
                                        <p:tgtEl>
                                          <p:spTgt spid="77">
                                            <p:txEl>
                                              <p:pRg st="1" end="1"/>
                                            </p:txEl>
                                          </p:spTgt>
                                        </p:tgtEl>
                                      </p:cBhvr>
                                    </p:animEffect>
                                  </p:childTnLst>
                                </p:cTn>
                              </p:par>
                            </p:childTnLst>
                          </p:cTn>
                        </p:par>
                        <p:par>
                          <p:cTn id="146" fill="hold">
                            <p:stCondLst>
                              <p:cond delay="2000"/>
                            </p:stCondLst>
                            <p:childTnLst>
                              <p:par>
                                <p:cTn id="147" presetID="22" presetClass="entr" presetSubtype="4" fill="hold" grpId="0" nodeType="afterEffect">
                                  <p:stCondLst>
                                    <p:cond delay="0"/>
                                  </p:stCondLst>
                                  <p:childTnLst>
                                    <p:set>
                                      <p:cBhvr>
                                        <p:cTn id="148" dur="1" fill="hold">
                                          <p:stCondLst>
                                            <p:cond delay="0"/>
                                          </p:stCondLst>
                                        </p:cTn>
                                        <p:tgtEl>
                                          <p:spTgt spid="77">
                                            <p:txEl>
                                              <p:pRg st="2" end="2"/>
                                            </p:txEl>
                                          </p:spTgt>
                                        </p:tgtEl>
                                        <p:attrNameLst>
                                          <p:attrName>style.visibility</p:attrName>
                                        </p:attrNameLst>
                                      </p:cBhvr>
                                      <p:to>
                                        <p:strVal val="visible"/>
                                      </p:to>
                                    </p:set>
                                    <p:animEffect transition="in" filter="wipe(down)">
                                      <p:cBhvr>
                                        <p:cTn id="149" dur="500"/>
                                        <p:tgtEl>
                                          <p:spTgt spid="77">
                                            <p:txEl>
                                              <p:pRg st="2" end="2"/>
                                            </p:txEl>
                                          </p:spTgt>
                                        </p:tgtEl>
                                      </p:cBhvr>
                                    </p:animEffect>
                                  </p:childTnLst>
                                </p:cTn>
                              </p:par>
                            </p:childTnLst>
                          </p:cTn>
                        </p:par>
                        <p:par>
                          <p:cTn id="150" fill="hold">
                            <p:stCondLst>
                              <p:cond delay="2500"/>
                            </p:stCondLst>
                            <p:childTnLst>
                              <p:par>
                                <p:cTn id="151" presetID="22" presetClass="entr" presetSubtype="4" fill="hold" grpId="0" nodeType="afterEffect">
                                  <p:stCondLst>
                                    <p:cond delay="0"/>
                                  </p:stCondLst>
                                  <p:childTnLst>
                                    <p:set>
                                      <p:cBhvr>
                                        <p:cTn id="152" dur="1" fill="hold">
                                          <p:stCondLst>
                                            <p:cond delay="0"/>
                                          </p:stCondLst>
                                        </p:cTn>
                                        <p:tgtEl>
                                          <p:spTgt spid="77">
                                            <p:txEl>
                                              <p:pRg st="3" end="3"/>
                                            </p:txEl>
                                          </p:spTgt>
                                        </p:tgtEl>
                                        <p:attrNameLst>
                                          <p:attrName>style.visibility</p:attrName>
                                        </p:attrNameLst>
                                      </p:cBhvr>
                                      <p:to>
                                        <p:strVal val="visible"/>
                                      </p:to>
                                    </p:set>
                                    <p:animEffect transition="in" filter="wipe(down)">
                                      <p:cBhvr>
                                        <p:cTn id="153" dur="500"/>
                                        <p:tgtEl>
                                          <p:spTgt spid="7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build="p"/>
      <p:bldP spid="66" grpId="0" animBg="1"/>
      <p:bldP spid="67" grpId="0" uiExpand="1" build="p"/>
      <p:bldP spid="68" grpId="0" animBg="1"/>
      <p:bldP spid="69" grpId="0" build="p"/>
      <p:bldP spid="70" grpId="0" animBg="1"/>
      <p:bldP spid="73" grpId="0" uiExpand="1" build="p"/>
      <p:bldP spid="74" grpId="0" animBg="1"/>
      <p:bldP spid="75" grpId="0" uiExpand="1" build="p"/>
      <p:bldP spid="76" grpId="0" animBg="1"/>
      <p:bldP spid="77" grpId="0" uiExpand="1" build="p"/>
      <p:bldP spid="79" grpId="0" animBg="1"/>
      <p:bldP spid="84" grpId="0" animBg="1"/>
      <p:bldP spid="9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e 11"/>
          <p:cNvGrpSpPr/>
          <p:nvPr/>
        </p:nvGrpSpPr>
        <p:grpSpPr>
          <a:xfrm>
            <a:off x="1281346" y="779704"/>
            <a:ext cx="1308010" cy="400110"/>
            <a:chOff x="2037715" y="892654"/>
            <a:chExt cx="1127024" cy="400110"/>
          </a:xfrm>
        </p:grpSpPr>
        <p:sp>
          <p:nvSpPr>
            <p:cNvPr id="44" name="ZoneTexte 43"/>
            <p:cNvSpPr txBox="1"/>
            <p:nvPr/>
          </p:nvSpPr>
          <p:spPr>
            <a:xfrm>
              <a:off x="2037715" y="892654"/>
              <a:ext cx="1127024"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b="1" dirty="0">
                  <a:latin typeface="Lato  "/>
                </a:rPr>
                <a:t>Définir</a:t>
              </a:r>
            </a:p>
          </p:txBody>
        </p:sp>
        <p:cxnSp>
          <p:nvCxnSpPr>
            <p:cNvPr id="55" name="Connecteur droit 54"/>
            <p:cNvCxnSpPr/>
            <p:nvPr/>
          </p:nvCxnSpPr>
          <p:spPr>
            <a:xfrm>
              <a:off x="2264795" y="1282860"/>
              <a:ext cx="540001" cy="0"/>
            </a:xfrm>
            <a:prstGeom prst="line">
              <a:avLst/>
            </a:prstGeom>
            <a:ln w="28575">
              <a:solidFill>
                <a:srgbClr val="EE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3" name="Groupe 12"/>
          <p:cNvGrpSpPr/>
          <p:nvPr/>
        </p:nvGrpSpPr>
        <p:grpSpPr>
          <a:xfrm>
            <a:off x="3203343" y="779704"/>
            <a:ext cx="1440667" cy="400110"/>
            <a:chOff x="3959712" y="892654"/>
            <a:chExt cx="1241325" cy="400110"/>
          </a:xfrm>
        </p:grpSpPr>
        <p:sp>
          <p:nvSpPr>
            <p:cNvPr id="47" name="ZoneTexte 46"/>
            <p:cNvSpPr txBox="1"/>
            <p:nvPr/>
          </p:nvSpPr>
          <p:spPr>
            <a:xfrm>
              <a:off x="3959712" y="892654"/>
              <a:ext cx="1241325"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Mesurer</a:t>
              </a:r>
            </a:p>
          </p:txBody>
        </p:sp>
        <p:cxnSp>
          <p:nvCxnSpPr>
            <p:cNvPr id="56" name="Connecteur droit 55"/>
            <p:cNvCxnSpPr/>
            <p:nvPr/>
          </p:nvCxnSpPr>
          <p:spPr>
            <a:xfrm>
              <a:off x="4176722" y="1282860"/>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5" name="Groupe 14"/>
          <p:cNvGrpSpPr/>
          <p:nvPr/>
        </p:nvGrpSpPr>
        <p:grpSpPr>
          <a:xfrm>
            <a:off x="5099616" y="779704"/>
            <a:ext cx="1440667" cy="400110"/>
            <a:chOff x="5855985" y="892654"/>
            <a:chExt cx="1241325" cy="400110"/>
          </a:xfrm>
        </p:grpSpPr>
        <p:sp>
          <p:nvSpPr>
            <p:cNvPr id="49" name="ZoneTexte 48"/>
            <p:cNvSpPr txBox="1"/>
            <p:nvPr/>
          </p:nvSpPr>
          <p:spPr>
            <a:xfrm>
              <a:off x="5855985" y="892654"/>
              <a:ext cx="1241325"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Analyser</a:t>
              </a:r>
            </a:p>
          </p:txBody>
        </p:sp>
        <p:cxnSp>
          <p:nvCxnSpPr>
            <p:cNvPr id="58" name="Connecteur droit 57"/>
            <p:cNvCxnSpPr/>
            <p:nvPr/>
          </p:nvCxnSpPr>
          <p:spPr>
            <a:xfrm>
              <a:off x="6047085"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Groupe 15"/>
          <p:cNvGrpSpPr/>
          <p:nvPr/>
        </p:nvGrpSpPr>
        <p:grpSpPr>
          <a:xfrm>
            <a:off x="7135914" y="779704"/>
            <a:ext cx="1561262" cy="400110"/>
            <a:chOff x="7892283" y="892654"/>
            <a:chExt cx="1345234" cy="400110"/>
          </a:xfrm>
        </p:grpSpPr>
        <p:sp>
          <p:nvSpPr>
            <p:cNvPr id="51" name="ZoneTexte 50"/>
            <p:cNvSpPr txBox="1"/>
            <p:nvPr/>
          </p:nvSpPr>
          <p:spPr>
            <a:xfrm>
              <a:off x="7892283" y="892654"/>
              <a:ext cx="1345234"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Améliorer</a:t>
              </a:r>
            </a:p>
          </p:txBody>
        </p:sp>
        <p:cxnSp>
          <p:nvCxnSpPr>
            <p:cNvPr id="60" name="Connecteur droit 59"/>
            <p:cNvCxnSpPr/>
            <p:nvPr/>
          </p:nvCxnSpPr>
          <p:spPr>
            <a:xfrm>
              <a:off x="8083704"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7" name="Groupe 56"/>
          <p:cNvGrpSpPr/>
          <p:nvPr/>
        </p:nvGrpSpPr>
        <p:grpSpPr>
          <a:xfrm>
            <a:off x="9151749" y="779704"/>
            <a:ext cx="1464786" cy="400110"/>
            <a:chOff x="9908118" y="892654"/>
            <a:chExt cx="1262107" cy="400110"/>
          </a:xfrm>
        </p:grpSpPr>
        <p:sp>
          <p:nvSpPr>
            <p:cNvPr id="53" name="ZoneTexte 52"/>
            <p:cNvSpPr txBox="1"/>
            <p:nvPr/>
          </p:nvSpPr>
          <p:spPr>
            <a:xfrm>
              <a:off x="9908118" y="892654"/>
              <a:ext cx="1262107"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Contrôler</a:t>
              </a:r>
            </a:p>
          </p:txBody>
        </p:sp>
        <p:cxnSp>
          <p:nvCxnSpPr>
            <p:cNvPr id="62" name="Connecteur droit 61"/>
            <p:cNvCxnSpPr/>
            <p:nvPr/>
          </p:nvCxnSpPr>
          <p:spPr>
            <a:xfrm>
              <a:off x="10089149"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ZoneTexte 63"/>
          <p:cNvSpPr txBox="1"/>
          <p:nvPr/>
        </p:nvSpPr>
        <p:spPr>
          <a:xfrm>
            <a:off x="4320848" y="1245949"/>
            <a:ext cx="3107978" cy="461665"/>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400" dirty="0">
                <a:solidFill>
                  <a:srgbClr val="020088"/>
                </a:solidFill>
                <a:effectLst>
                  <a:outerShdw blurRad="38100" dist="38100" dir="2700000" algn="tl">
                    <a:srgbClr val="000000">
                      <a:alpha val="43137"/>
                    </a:srgbClr>
                  </a:outerShdw>
                </a:effectLst>
                <a:latin typeface="Lato  "/>
              </a:rPr>
              <a:t> Périmètre du projet</a:t>
            </a:r>
          </a:p>
        </p:txBody>
      </p:sp>
      <p:sp>
        <p:nvSpPr>
          <p:cNvPr id="59" name="Rectangle 58"/>
          <p:cNvSpPr/>
          <p:nvPr/>
        </p:nvSpPr>
        <p:spPr>
          <a:xfrm rot="10800000">
            <a:off x="144038" y="6315373"/>
            <a:ext cx="412293" cy="338554"/>
          </a:xfrm>
          <a:prstGeom prst="rect">
            <a:avLst/>
          </a:prstGeom>
        </p:spPr>
        <p:txBody>
          <a:bodyPr wrap="none">
            <a:spAutoFit/>
          </a:bodyPr>
          <a:lstStyle>
            <a:defPPr>
              <a:defRPr lang="en-US"/>
            </a:defPPr>
            <a:lvl1pPr marL="0" algn="l" defTabSz="914340" rtl="0" eaLnBrk="1" latinLnBrk="0" hangingPunct="1">
              <a:defRPr sz="1800" kern="1200">
                <a:solidFill>
                  <a:schemeClr val="tx1"/>
                </a:solidFill>
                <a:latin typeface="+mn-lt"/>
                <a:ea typeface="+mn-ea"/>
                <a:cs typeface="+mn-cs"/>
              </a:defRPr>
            </a:lvl1pPr>
            <a:lvl2pPr marL="457170"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1" algn="l" defTabSz="914340" rtl="0" eaLnBrk="1" latinLnBrk="0" hangingPunct="1">
              <a:defRPr sz="1800" kern="1200">
                <a:solidFill>
                  <a:schemeClr val="tx1"/>
                </a:solidFill>
                <a:latin typeface="+mn-lt"/>
                <a:ea typeface="+mn-ea"/>
                <a:cs typeface="+mn-cs"/>
              </a:defRPr>
            </a:lvl7pPr>
            <a:lvl8pPr marL="3200193"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a:lstStyle>
          <a:p>
            <a:pPr algn="ctr"/>
            <a:r>
              <a:rPr lang="en-AU" sz="1600" dirty="0">
                <a:solidFill>
                  <a:schemeClr val="bg1"/>
                </a:solidFill>
                <a:latin typeface="Lato"/>
              </a:rPr>
              <a:t>15</a:t>
            </a:r>
          </a:p>
        </p:txBody>
      </p:sp>
      <p:sp>
        <p:nvSpPr>
          <p:cNvPr id="2" name="Espace réservé du numéro de diapositive 1"/>
          <p:cNvSpPr>
            <a:spLocks noGrp="1"/>
          </p:cNvSpPr>
          <p:nvPr>
            <p:ph type="sldNum" sz="quarter" idx="12"/>
          </p:nvPr>
        </p:nvSpPr>
        <p:spPr>
          <a:xfrm>
            <a:off x="9334421" y="6288241"/>
            <a:ext cx="2743200" cy="365125"/>
          </a:xfrm>
        </p:spPr>
        <p:txBody>
          <a:bodyPr vert="horz" lIns="91440" tIns="45720" rIns="91440" bIns="45720" rtlCol="0" anchor="ctr"/>
          <a:lstStyle/>
          <a:p>
            <a:fld id="{6130CD27-AFE4-4E20-B740-5A2305B4E48B}" type="slidenum">
              <a:rPr lang="fr-FR" sz="1600">
                <a:solidFill>
                  <a:schemeClr val="bg1"/>
                </a:solidFill>
                <a:latin typeface="Lato"/>
              </a:rPr>
              <a:pPr/>
              <a:t>14</a:t>
            </a:fld>
            <a:endParaRPr lang="fr-FR" sz="1600" dirty="0">
              <a:solidFill>
                <a:schemeClr val="bg1"/>
              </a:solidFill>
              <a:latin typeface="Lato"/>
            </a:endParaRPr>
          </a:p>
        </p:txBody>
      </p:sp>
      <p:sp>
        <p:nvSpPr>
          <p:cNvPr id="78" name="ZoneTexte 53">
            <a:extLst>
              <a:ext uri="{FF2B5EF4-FFF2-40B4-BE49-F238E27FC236}">
                <a16:creationId xmlns:a16="http://schemas.microsoft.com/office/drawing/2014/main" id="{6F4450BA-9AAA-4FEE-B3C6-7629ACE48039}"/>
              </a:ext>
            </a:extLst>
          </p:cNvPr>
          <p:cNvSpPr txBox="1"/>
          <p:nvPr/>
        </p:nvSpPr>
        <p:spPr>
          <a:xfrm>
            <a:off x="390860" y="74183"/>
            <a:ext cx="1821107"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Environnement </a:t>
            </a:r>
          </a:p>
          <a:p>
            <a:r>
              <a:rPr lang="it-IT" dirty="0"/>
              <a:t>du projet</a:t>
            </a:r>
            <a:endParaRPr lang="fr-FR" dirty="0"/>
          </a:p>
        </p:txBody>
      </p:sp>
      <p:sp>
        <p:nvSpPr>
          <p:cNvPr id="91" name="ZoneTexte 54">
            <a:extLst>
              <a:ext uri="{FF2B5EF4-FFF2-40B4-BE49-F238E27FC236}">
                <a16:creationId xmlns:a16="http://schemas.microsoft.com/office/drawing/2014/main" id="{B24A9C8C-AE54-436E-9627-3001171037C2}"/>
              </a:ext>
            </a:extLst>
          </p:cNvPr>
          <p:cNvSpPr txBox="1"/>
          <p:nvPr/>
        </p:nvSpPr>
        <p:spPr>
          <a:xfrm>
            <a:off x="6433678" y="74184"/>
            <a:ext cx="1784587" cy="646331"/>
          </a:xfrm>
          <a:prstGeom prst="rect">
            <a:avLst/>
          </a:prstGeom>
          <a:solidFill>
            <a:srgbClr val="020088"/>
          </a:solidFill>
        </p:spPr>
        <p:txBody>
          <a:bodyPr wrap="square" rtlCol="0">
            <a:spAutoFit/>
          </a:bodyPr>
          <a:lstStyle>
            <a:defPPr>
              <a:defRPr lang="fr-FR"/>
            </a:defPPr>
            <a:lvl1pPr algn="ctr">
              <a:defRPr>
                <a:solidFill>
                  <a:schemeClr val="bg1"/>
                </a:solidFill>
                <a:latin typeface="Lato  "/>
              </a:defRPr>
            </a:lvl1pPr>
          </a:lstStyle>
          <a:p>
            <a:r>
              <a:rPr lang="it-IT" dirty="0"/>
              <a:t>Mise en oeuvre du projet</a:t>
            </a:r>
            <a:endParaRPr lang="fr-FR" dirty="0"/>
          </a:p>
        </p:txBody>
      </p:sp>
      <p:sp>
        <p:nvSpPr>
          <p:cNvPr id="92" name="ZoneTexte 55">
            <a:extLst>
              <a:ext uri="{FF2B5EF4-FFF2-40B4-BE49-F238E27FC236}">
                <a16:creationId xmlns:a16="http://schemas.microsoft.com/office/drawing/2014/main" id="{37F626EB-7569-4651-A107-92056F5647D1}"/>
              </a:ext>
            </a:extLst>
          </p:cNvPr>
          <p:cNvSpPr txBox="1"/>
          <p:nvPr/>
        </p:nvSpPr>
        <p:spPr>
          <a:xfrm>
            <a:off x="9319488" y="74730"/>
            <a:ext cx="1752879" cy="646331"/>
          </a:xfrm>
          <a:prstGeom prst="rect">
            <a:avLst/>
          </a:prstGeom>
          <a:solidFill>
            <a:schemeClr val="bg2"/>
          </a:solidFill>
        </p:spPr>
        <p:txBody>
          <a:bodyPr wrap="square" rtlCol="0">
            <a:spAutoFit/>
          </a:bodyPr>
          <a:lstStyle/>
          <a:p>
            <a:pPr algn="ctr"/>
            <a:r>
              <a:rPr lang="it-IT" dirty="0">
                <a:latin typeface="Lato  "/>
              </a:rPr>
              <a:t>Conclusion et</a:t>
            </a:r>
          </a:p>
          <a:p>
            <a:pPr algn="ctr"/>
            <a:r>
              <a:rPr lang="it-IT" dirty="0">
                <a:latin typeface="Lato  "/>
              </a:rPr>
              <a:t> Perspectives</a:t>
            </a:r>
            <a:endParaRPr lang="fr-FR" dirty="0">
              <a:latin typeface="Lato  "/>
            </a:endParaRPr>
          </a:p>
        </p:txBody>
      </p:sp>
      <p:cxnSp>
        <p:nvCxnSpPr>
          <p:cNvPr id="93" name="Connecteur droit 56">
            <a:extLst>
              <a:ext uri="{FF2B5EF4-FFF2-40B4-BE49-F238E27FC236}">
                <a16:creationId xmlns:a16="http://schemas.microsoft.com/office/drawing/2014/main" id="{C56F36DF-7BA7-4C08-8F04-CE88255FEA0F}"/>
              </a:ext>
            </a:extLst>
          </p:cNvPr>
          <p:cNvCxnSpPr>
            <a:cxnSpLocks/>
          </p:cNvCxnSpPr>
          <p:nvPr/>
        </p:nvCxnSpPr>
        <p:spPr>
          <a:xfrm>
            <a:off x="11077903" y="410171"/>
            <a:ext cx="793875"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94" name="Connecteur droit 57">
            <a:extLst>
              <a:ext uri="{FF2B5EF4-FFF2-40B4-BE49-F238E27FC236}">
                <a16:creationId xmlns:a16="http://schemas.microsoft.com/office/drawing/2014/main" id="{3ECE51A5-C702-40C3-A387-7D101E5CC9DC}"/>
              </a:ext>
            </a:extLst>
          </p:cNvPr>
          <p:cNvCxnSpPr>
            <a:cxnSpLocks/>
            <a:stCxn id="78" idx="3"/>
            <a:endCxn id="100" idx="1"/>
          </p:cNvCxnSpPr>
          <p:nvPr/>
        </p:nvCxnSpPr>
        <p:spPr>
          <a:xfrm>
            <a:off x="2211967" y="397349"/>
            <a:ext cx="1101223"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95" name="Connecteur droit 58">
            <a:extLst>
              <a:ext uri="{FF2B5EF4-FFF2-40B4-BE49-F238E27FC236}">
                <a16:creationId xmlns:a16="http://schemas.microsoft.com/office/drawing/2014/main" id="{4BB2F680-0AB5-4D3E-BD93-5FD34EA7EB6A}"/>
              </a:ext>
            </a:extLst>
          </p:cNvPr>
          <p:cNvCxnSpPr>
            <a:cxnSpLocks/>
            <a:stCxn id="91" idx="3"/>
            <a:endCxn id="92" idx="1"/>
          </p:cNvCxnSpPr>
          <p:nvPr/>
        </p:nvCxnSpPr>
        <p:spPr>
          <a:xfrm>
            <a:off x="8218265" y="397350"/>
            <a:ext cx="1101223" cy="546"/>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96" name="Group 3">
            <a:extLst>
              <a:ext uri="{FF2B5EF4-FFF2-40B4-BE49-F238E27FC236}">
                <a16:creationId xmlns:a16="http://schemas.microsoft.com/office/drawing/2014/main" id="{899FC0A3-EEE0-4D32-9FA3-D69351D7C30B}"/>
              </a:ext>
            </a:extLst>
          </p:cNvPr>
          <p:cNvGrpSpPr/>
          <p:nvPr/>
        </p:nvGrpSpPr>
        <p:grpSpPr>
          <a:xfrm rot="10800000">
            <a:off x="11632841" y="410171"/>
            <a:ext cx="504000" cy="6352766"/>
            <a:chOff x="-5771165" y="1295207"/>
            <a:chExt cx="504000" cy="6352766"/>
          </a:xfrm>
          <a:solidFill>
            <a:srgbClr val="020088"/>
          </a:solidFill>
        </p:grpSpPr>
        <p:cxnSp>
          <p:nvCxnSpPr>
            <p:cNvPr id="97" name="Straight Connector 9">
              <a:extLst>
                <a:ext uri="{FF2B5EF4-FFF2-40B4-BE49-F238E27FC236}">
                  <a16:creationId xmlns:a16="http://schemas.microsoft.com/office/drawing/2014/main" id="{3E3BED29-644E-48B5-AFCB-042B8EE42DC8}"/>
                </a:ext>
              </a:extLst>
            </p:cNvPr>
            <p:cNvCxnSpPr>
              <a:cxnSpLocks/>
            </p:cNvCxnSpPr>
            <p:nvPr/>
          </p:nvCxnSpPr>
          <p:spPr>
            <a:xfrm rot="10800000" flipV="1">
              <a:off x="-5506102" y="1610316"/>
              <a:ext cx="0" cy="6037657"/>
            </a:xfrm>
            <a:prstGeom prst="line">
              <a:avLst/>
            </a:prstGeom>
            <a:grpFill/>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98" name="Teardrop 38">
              <a:extLst>
                <a:ext uri="{FF2B5EF4-FFF2-40B4-BE49-F238E27FC236}">
                  <a16:creationId xmlns:a16="http://schemas.microsoft.com/office/drawing/2014/main" id="{1196F955-8D6C-41D6-9A31-AB2446601066}"/>
                </a:ext>
              </a:extLst>
            </p:cNvPr>
            <p:cNvSpPr/>
            <p:nvPr/>
          </p:nvSpPr>
          <p:spPr>
            <a:xfrm rot="8100000">
              <a:off x="-5771165" y="1295207"/>
              <a:ext cx="504000" cy="504000"/>
            </a:xfrm>
            <a:prstGeom prst="teardrop">
              <a:avLst>
                <a:gd name="adj" fmla="val 9891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dirty="0"/>
            </a:p>
          </p:txBody>
        </p:sp>
      </p:grpSp>
      <p:sp>
        <p:nvSpPr>
          <p:cNvPr id="99" name="Espace réservé du numéro de diapositive 1">
            <a:extLst>
              <a:ext uri="{FF2B5EF4-FFF2-40B4-BE49-F238E27FC236}">
                <a16:creationId xmlns:a16="http://schemas.microsoft.com/office/drawing/2014/main" id="{A1997D78-9A12-444B-A0B2-F4FD381E35A9}"/>
              </a:ext>
            </a:extLst>
          </p:cNvPr>
          <p:cNvSpPr txBox="1">
            <a:spLocks/>
          </p:cNvSpPr>
          <p:nvPr/>
        </p:nvSpPr>
        <p:spPr>
          <a:xfrm>
            <a:off x="9361851" y="6324949"/>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solidFill>
                <a:latin typeface="Lato"/>
              </a:rPr>
              <a:t>10</a:t>
            </a:r>
          </a:p>
        </p:txBody>
      </p:sp>
      <p:sp>
        <p:nvSpPr>
          <p:cNvPr id="100" name="ZoneTexte 54">
            <a:extLst>
              <a:ext uri="{FF2B5EF4-FFF2-40B4-BE49-F238E27FC236}">
                <a16:creationId xmlns:a16="http://schemas.microsoft.com/office/drawing/2014/main" id="{1EB769E5-B687-4117-8216-81780C7D7D11}"/>
              </a:ext>
            </a:extLst>
          </p:cNvPr>
          <p:cNvSpPr txBox="1"/>
          <p:nvPr/>
        </p:nvSpPr>
        <p:spPr>
          <a:xfrm>
            <a:off x="3313190" y="74184"/>
            <a:ext cx="2024481"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Contexte Général</a:t>
            </a:r>
          </a:p>
          <a:p>
            <a:r>
              <a:rPr lang="it-IT" dirty="0"/>
              <a:t> du projet</a:t>
            </a:r>
          </a:p>
        </p:txBody>
      </p:sp>
      <p:cxnSp>
        <p:nvCxnSpPr>
          <p:cNvPr id="101" name="Connecteur droit 57">
            <a:extLst>
              <a:ext uri="{FF2B5EF4-FFF2-40B4-BE49-F238E27FC236}">
                <a16:creationId xmlns:a16="http://schemas.microsoft.com/office/drawing/2014/main" id="{FD0AE152-642A-4463-8A8E-2BCD7B97F60B}"/>
              </a:ext>
            </a:extLst>
          </p:cNvPr>
          <p:cNvCxnSpPr>
            <a:cxnSpLocks/>
          </p:cNvCxnSpPr>
          <p:nvPr/>
        </p:nvCxnSpPr>
        <p:spPr>
          <a:xfrm>
            <a:off x="5337671" y="397350"/>
            <a:ext cx="1096007" cy="0"/>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4DB0C266-F09C-445E-AE05-C70F6A5199F5}"/>
              </a:ext>
            </a:extLst>
          </p:cNvPr>
          <p:cNvGrpSpPr/>
          <p:nvPr/>
        </p:nvGrpSpPr>
        <p:grpSpPr>
          <a:xfrm>
            <a:off x="1237943" y="1802066"/>
            <a:ext cx="8700456" cy="4697134"/>
            <a:chOff x="371356" y="1870851"/>
            <a:chExt cx="7016969" cy="4369263"/>
          </a:xfrm>
        </p:grpSpPr>
        <p:grpSp>
          <p:nvGrpSpPr>
            <p:cNvPr id="52" name="Group 51">
              <a:extLst>
                <a:ext uri="{FF2B5EF4-FFF2-40B4-BE49-F238E27FC236}">
                  <a16:creationId xmlns:a16="http://schemas.microsoft.com/office/drawing/2014/main" id="{DED5C10F-7362-4189-91CF-1E3671BCFA0B}"/>
                </a:ext>
              </a:extLst>
            </p:cNvPr>
            <p:cNvGrpSpPr/>
            <p:nvPr/>
          </p:nvGrpSpPr>
          <p:grpSpPr>
            <a:xfrm>
              <a:off x="371356" y="3064676"/>
              <a:ext cx="7016969" cy="3175438"/>
              <a:chOff x="1341438" y="2335268"/>
              <a:chExt cx="7936397" cy="3603183"/>
            </a:xfrm>
          </p:grpSpPr>
          <p:grpSp>
            <p:nvGrpSpPr>
              <p:cNvPr id="54" name="Group 53">
                <a:extLst>
                  <a:ext uri="{FF2B5EF4-FFF2-40B4-BE49-F238E27FC236}">
                    <a16:creationId xmlns:a16="http://schemas.microsoft.com/office/drawing/2014/main" id="{F432143E-DD8B-4431-8FD8-7CCC83143391}"/>
                  </a:ext>
                </a:extLst>
              </p:cNvPr>
              <p:cNvGrpSpPr/>
              <p:nvPr/>
            </p:nvGrpSpPr>
            <p:grpSpPr>
              <a:xfrm>
                <a:off x="1341438" y="3127017"/>
                <a:ext cx="7747747" cy="1293126"/>
                <a:chOff x="874713" y="2420938"/>
                <a:chExt cx="6426200" cy="869950"/>
              </a:xfrm>
            </p:grpSpPr>
            <p:grpSp>
              <p:nvGrpSpPr>
                <p:cNvPr id="150" name="Groupe 1">
                  <a:extLst>
                    <a:ext uri="{FF2B5EF4-FFF2-40B4-BE49-F238E27FC236}">
                      <a16:creationId xmlns:a16="http://schemas.microsoft.com/office/drawing/2014/main" id="{E24DC9C7-0F2E-4D6C-8559-4EF4A909896D}"/>
                    </a:ext>
                  </a:extLst>
                </p:cNvPr>
                <p:cNvGrpSpPr>
                  <a:grpSpLocks/>
                </p:cNvGrpSpPr>
                <p:nvPr/>
              </p:nvGrpSpPr>
              <p:grpSpPr bwMode="auto">
                <a:xfrm>
                  <a:off x="5962650" y="2466975"/>
                  <a:ext cx="1338263" cy="763588"/>
                  <a:chOff x="3430917" y="-3883789"/>
                  <a:chExt cx="4341655" cy="4353042"/>
                </a:xfrm>
                <a:solidFill>
                  <a:srgbClr val="00B0F0"/>
                </a:solidFill>
              </p:grpSpPr>
              <p:sp>
                <p:nvSpPr>
                  <p:cNvPr id="244" name="Rectangle à coins arrondis 164">
                    <a:extLst>
                      <a:ext uri="{FF2B5EF4-FFF2-40B4-BE49-F238E27FC236}">
                        <a16:creationId xmlns:a16="http://schemas.microsoft.com/office/drawing/2014/main" id="{54F18D19-C918-474D-AFB1-6CCFBEFB7310}"/>
                      </a:ext>
                    </a:extLst>
                  </p:cNvPr>
                  <p:cNvSpPr/>
                  <p:nvPr/>
                </p:nvSpPr>
                <p:spPr>
                  <a:xfrm>
                    <a:off x="3430917" y="-3883789"/>
                    <a:ext cx="4341655" cy="4353042"/>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p>
                </p:txBody>
              </p:sp>
              <p:sp>
                <p:nvSpPr>
                  <p:cNvPr id="245" name="ZoneTexte 3">
                    <a:extLst>
                      <a:ext uri="{FF2B5EF4-FFF2-40B4-BE49-F238E27FC236}">
                        <a16:creationId xmlns:a16="http://schemas.microsoft.com/office/drawing/2014/main" id="{CCAB1A39-D07A-4128-A233-88516C046C36}"/>
                      </a:ext>
                    </a:extLst>
                  </p:cNvPr>
                  <p:cNvSpPr txBox="1">
                    <a:spLocks noChangeArrowheads="1"/>
                  </p:cNvSpPr>
                  <p:nvPr/>
                </p:nvSpPr>
                <p:spPr bwMode="auto">
                  <a:xfrm>
                    <a:off x="4515567" y="-3803920"/>
                    <a:ext cx="2463942" cy="77856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35000"/>
                      </a:spcBef>
                      <a:buClr>
                        <a:srgbClr val="F7B100"/>
                      </a:buClr>
                      <a:buFont typeface="Wingdings" panose="05000000000000000000" pitchFamily="2" charset="2"/>
                      <a:buChar char="§"/>
                      <a:defRPr>
                        <a:solidFill>
                          <a:schemeClr val="tx1"/>
                        </a:solidFill>
                        <a:latin typeface="Arial" panose="020B0604020202020204" pitchFamily="34" charset="0"/>
                      </a:defRPr>
                    </a:lvl1pPr>
                    <a:lvl2pPr marL="742950" indent="-285750">
                      <a:spcBef>
                        <a:spcPct val="30000"/>
                      </a:spcBef>
                      <a:buClr>
                        <a:srgbClr val="F7B100"/>
                      </a:buClr>
                      <a:buFont typeface="Wingdings" panose="05000000000000000000" pitchFamily="2" charset="2"/>
                      <a:buChar char="§"/>
                      <a:defRPr sz="1600">
                        <a:solidFill>
                          <a:schemeClr val="tx1"/>
                        </a:solidFill>
                        <a:latin typeface="Arial" panose="020B0604020202020204" pitchFamily="34" charset="0"/>
                      </a:defRPr>
                    </a:lvl2pPr>
                    <a:lvl3pPr marL="1143000" indent="-228600">
                      <a:spcBef>
                        <a:spcPct val="35000"/>
                      </a:spcBef>
                      <a:buFont typeface="Wingdings" panose="05000000000000000000" pitchFamily="2" charset="2"/>
                      <a:buChar char="§"/>
                      <a:defRPr sz="1400">
                        <a:solidFill>
                          <a:schemeClr val="tx1"/>
                        </a:solidFill>
                        <a:latin typeface="Arial" panose="020B0604020202020204" pitchFamily="34" charset="0"/>
                      </a:defRPr>
                    </a:lvl3pPr>
                    <a:lvl4pPr marL="1600200" indent="-228600">
                      <a:spcBef>
                        <a:spcPct val="40000"/>
                      </a:spcBef>
                      <a:buFont typeface="Wingdings" panose="05000000000000000000" pitchFamily="2" charset="2"/>
                      <a:defRPr sz="11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spcBef>
                        <a:spcPct val="0"/>
                      </a:spcBef>
                      <a:buClrTx/>
                      <a:buFontTx/>
                      <a:buNone/>
                      <a:defRPr/>
                    </a:pPr>
                    <a:r>
                      <a:rPr lang="fr-FR" altLang="fr-FR" sz="1000" b="0" dirty="0"/>
                      <a:t>CCD/G700</a:t>
                    </a:r>
                    <a:endParaRPr lang="en-US" altLang="fr-FR" sz="1000" b="0" dirty="0"/>
                  </a:p>
                </p:txBody>
              </p:sp>
            </p:grpSp>
            <p:grpSp>
              <p:nvGrpSpPr>
                <p:cNvPr id="151" name="Groupe 9">
                  <a:extLst>
                    <a:ext uri="{FF2B5EF4-FFF2-40B4-BE49-F238E27FC236}">
                      <a16:creationId xmlns:a16="http://schemas.microsoft.com/office/drawing/2014/main" id="{7C1E5694-E7BF-4301-95C1-DE796DA7A78A}"/>
                    </a:ext>
                  </a:extLst>
                </p:cNvPr>
                <p:cNvGrpSpPr>
                  <a:grpSpLocks/>
                </p:cNvGrpSpPr>
                <p:nvPr/>
              </p:nvGrpSpPr>
              <p:grpSpPr bwMode="auto">
                <a:xfrm>
                  <a:off x="4317951" y="2463626"/>
                  <a:ext cx="1605711" cy="814186"/>
                  <a:chOff x="3430917" y="-3539502"/>
                  <a:chExt cx="4341655" cy="4353043"/>
                </a:xfrm>
                <a:solidFill>
                  <a:srgbClr val="00B0F0"/>
                </a:solidFill>
              </p:grpSpPr>
              <p:sp>
                <p:nvSpPr>
                  <p:cNvPr id="242" name="Rectangle à coins arrondis 170">
                    <a:extLst>
                      <a:ext uri="{FF2B5EF4-FFF2-40B4-BE49-F238E27FC236}">
                        <a16:creationId xmlns:a16="http://schemas.microsoft.com/office/drawing/2014/main" id="{7F5920B6-D35E-4E80-8D30-0A924434AB93}"/>
                      </a:ext>
                    </a:extLst>
                  </p:cNvPr>
                  <p:cNvSpPr/>
                  <p:nvPr/>
                </p:nvSpPr>
                <p:spPr>
                  <a:xfrm>
                    <a:off x="3430917" y="-3539502"/>
                    <a:ext cx="4341655" cy="4353043"/>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dirty="0"/>
                  </a:p>
                </p:txBody>
              </p:sp>
              <p:sp>
                <p:nvSpPr>
                  <p:cNvPr id="243" name="ZoneTexte 11">
                    <a:extLst>
                      <a:ext uri="{FF2B5EF4-FFF2-40B4-BE49-F238E27FC236}">
                        <a16:creationId xmlns:a16="http://schemas.microsoft.com/office/drawing/2014/main" id="{9BCDBF19-128D-4B19-BDDE-60BC51E8B097}"/>
                      </a:ext>
                    </a:extLst>
                  </p:cNvPr>
                  <p:cNvSpPr txBox="1">
                    <a:spLocks noChangeArrowheads="1"/>
                  </p:cNvSpPr>
                  <p:nvPr/>
                </p:nvSpPr>
                <p:spPr bwMode="auto">
                  <a:xfrm>
                    <a:off x="4383966" y="-3472153"/>
                    <a:ext cx="2158874" cy="10551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35000"/>
                      </a:spcBef>
                      <a:buClr>
                        <a:srgbClr val="F7B100"/>
                      </a:buClr>
                      <a:buFont typeface="Wingdings" panose="05000000000000000000" pitchFamily="2" charset="2"/>
                      <a:buChar char="§"/>
                      <a:defRPr>
                        <a:solidFill>
                          <a:schemeClr val="tx1"/>
                        </a:solidFill>
                        <a:latin typeface="Arial" panose="020B0604020202020204" pitchFamily="34" charset="0"/>
                      </a:defRPr>
                    </a:lvl1pPr>
                    <a:lvl2pPr marL="742950" indent="-285750">
                      <a:spcBef>
                        <a:spcPct val="30000"/>
                      </a:spcBef>
                      <a:buClr>
                        <a:srgbClr val="F7B100"/>
                      </a:buClr>
                      <a:buFont typeface="Wingdings" panose="05000000000000000000" pitchFamily="2" charset="2"/>
                      <a:buChar char="§"/>
                      <a:defRPr sz="1600">
                        <a:solidFill>
                          <a:schemeClr val="tx1"/>
                        </a:solidFill>
                        <a:latin typeface="Arial" panose="020B0604020202020204" pitchFamily="34" charset="0"/>
                      </a:defRPr>
                    </a:lvl2pPr>
                    <a:lvl3pPr marL="1143000" indent="-228600">
                      <a:spcBef>
                        <a:spcPct val="35000"/>
                      </a:spcBef>
                      <a:buFont typeface="Wingdings" panose="05000000000000000000" pitchFamily="2" charset="2"/>
                      <a:buChar char="§"/>
                      <a:defRPr sz="1400">
                        <a:solidFill>
                          <a:schemeClr val="tx1"/>
                        </a:solidFill>
                        <a:latin typeface="Arial" panose="020B0604020202020204" pitchFamily="34" charset="0"/>
                      </a:defRPr>
                    </a:lvl3pPr>
                    <a:lvl4pPr marL="1600200" indent="-228600">
                      <a:spcBef>
                        <a:spcPct val="40000"/>
                      </a:spcBef>
                      <a:buFont typeface="Wingdings" panose="05000000000000000000" pitchFamily="2" charset="2"/>
                      <a:defRPr sz="11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spcBef>
                        <a:spcPct val="0"/>
                      </a:spcBef>
                      <a:buClrTx/>
                      <a:buFontTx/>
                      <a:buNone/>
                      <a:defRPr/>
                    </a:pPr>
                    <a:r>
                      <a:rPr lang="fr-FR" altLang="fr-FR" sz="1000" b="0" dirty="0"/>
                      <a:t>CCD/G600</a:t>
                    </a:r>
                    <a:endParaRPr lang="en-US" altLang="fr-FR" sz="1000" b="0" dirty="0"/>
                  </a:p>
                </p:txBody>
              </p:sp>
            </p:grpSp>
            <p:sp>
              <p:nvSpPr>
                <p:cNvPr id="152" name="Rectangle à coins arrondis 172">
                  <a:extLst>
                    <a:ext uri="{FF2B5EF4-FFF2-40B4-BE49-F238E27FC236}">
                      <a16:creationId xmlns:a16="http://schemas.microsoft.com/office/drawing/2014/main" id="{2DB76416-BD9E-4A7A-8EE6-1BC5EAEA05AB}"/>
                    </a:ext>
                  </a:extLst>
                </p:cNvPr>
                <p:cNvSpPr/>
                <p:nvPr/>
              </p:nvSpPr>
              <p:spPr>
                <a:xfrm>
                  <a:off x="2601913" y="2420938"/>
                  <a:ext cx="1644650" cy="86995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p>
              </p:txBody>
            </p:sp>
            <p:pic>
              <p:nvPicPr>
                <p:cNvPr id="153" name="Image 13">
                  <a:extLst>
                    <a:ext uri="{FF2B5EF4-FFF2-40B4-BE49-F238E27FC236}">
                      <a16:creationId xmlns:a16="http://schemas.microsoft.com/office/drawing/2014/main" id="{2B3BA0C8-F4FF-403E-AFE0-0AAA4CD242B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87650" y="3132138"/>
                  <a:ext cx="11112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 name="ZoneTexte 14">
                  <a:extLst>
                    <a:ext uri="{FF2B5EF4-FFF2-40B4-BE49-F238E27FC236}">
                      <a16:creationId xmlns:a16="http://schemas.microsoft.com/office/drawing/2014/main" id="{508FDD5D-102A-477A-8AC0-E0D0AD772AEC}"/>
                    </a:ext>
                  </a:extLst>
                </p:cNvPr>
                <p:cNvSpPr txBox="1">
                  <a:spLocks noChangeArrowheads="1"/>
                </p:cNvSpPr>
                <p:nvPr/>
              </p:nvSpPr>
              <p:spPr bwMode="auto">
                <a:xfrm>
                  <a:off x="2988816" y="2443642"/>
                  <a:ext cx="885825" cy="166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35000"/>
                    </a:spcBef>
                    <a:buClr>
                      <a:srgbClr val="F7B100"/>
                    </a:buClr>
                    <a:buFont typeface="Wingdings" panose="05000000000000000000" pitchFamily="2" charset="2"/>
                    <a:buChar char="§"/>
                    <a:defRPr>
                      <a:solidFill>
                        <a:schemeClr val="tx1"/>
                      </a:solidFill>
                      <a:latin typeface="Arial" panose="020B0604020202020204" pitchFamily="34" charset="0"/>
                    </a:defRPr>
                  </a:lvl1pPr>
                  <a:lvl2pPr marL="742950" indent="-285750">
                    <a:spcBef>
                      <a:spcPct val="30000"/>
                    </a:spcBef>
                    <a:buClr>
                      <a:srgbClr val="F7B100"/>
                    </a:buClr>
                    <a:buFont typeface="Wingdings" panose="05000000000000000000" pitchFamily="2" charset="2"/>
                    <a:buChar char="§"/>
                    <a:defRPr sz="1600">
                      <a:solidFill>
                        <a:schemeClr val="tx1"/>
                      </a:solidFill>
                      <a:latin typeface="Arial" panose="020B0604020202020204" pitchFamily="34" charset="0"/>
                    </a:defRPr>
                  </a:lvl2pPr>
                  <a:lvl3pPr marL="1143000" indent="-228600">
                    <a:spcBef>
                      <a:spcPct val="35000"/>
                    </a:spcBef>
                    <a:buFont typeface="Wingdings" panose="05000000000000000000" pitchFamily="2" charset="2"/>
                    <a:buChar char="§"/>
                    <a:defRPr sz="1400">
                      <a:solidFill>
                        <a:schemeClr val="tx1"/>
                      </a:solidFill>
                      <a:latin typeface="Arial" panose="020B0604020202020204" pitchFamily="34" charset="0"/>
                    </a:defRPr>
                  </a:lvl3pPr>
                  <a:lvl4pPr marL="1600200" indent="-228600">
                    <a:spcBef>
                      <a:spcPct val="40000"/>
                    </a:spcBef>
                    <a:buFont typeface="Wingdings" panose="05000000000000000000" pitchFamily="2" charset="2"/>
                    <a:defRPr sz="11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spcBef>
                      <a:spcPct val="0"/>
                    </a:spcBef>
                    <a:buClrTx/>
                    <a:buFontTx/>
                    <a:buNone/>
                  </a:pPr>
                  <a:r>
                    <a:rPr lang="fr-FR" altLang="fr-FR" sz="1000" b="1" dirty="0">
                      <a:solidFill>
                        <a:srgbClr val="FF0000"/>
                      </a:solidFill>
                    </a:rPr>
                    <a:t>CCD/G 500</a:t>
                  </a:r>
                  <a:endParaRPr lang="en-US" altLang="fr-FR" sz="1000" b="1" dirty="0">
                    <a:solidFill>
                      <a:srgbClr val="FF0000"/>
                    </a:solidFill>
                  </a:endParaRPr>
                </a:p>
              </p:txBody>
            </p:sp>
            <p:pic>
              <p:nvPicPr>
                <p:cNvPr id="155" name="Image 15">
                  <a:extLst>
                    <a:ext uri="{FF2B5EF4-FFF2-40B4-BE49-F238E27FC236}">
                      <a16:creationId xmlns:a16="http://schemas.microsoft.com/office/drawing/2014/main" id="{04BC5874-E6C5-4FDB-BD69-80D1082FC5F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076950" y="2532063"/>
                  <a:ext cx="1042988"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6" name="Flèche droite rayée 176">
                  <a:extLst>
                    <a:ext uri="{FF2B5EF4-FFF2-40B4-BE49-F238E27FC236}">
                      <a16:creationId xmlns:a16="http://schemas.microsoft.com/office/drawing/2014/main" id="{8990DEB6-EC68-4A7E-BD78-3D599BB583E2}"/>
                    </a:ext>
                  </a:extLst>
                </p:cNvPr>
                <p:cNvSpPr/>
                <p:nvPr/>
              </p:nvSpPr>
              <p:spPr>
                <a:xfrm>
                  <a:off x="5892800" y="2779713"/>
                  <a:ext cx="125413" cy="101600"/>
                </a:xfrm>
                <a:prstGeom prst="strip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p>
              </p:txBody>
            </p:sp>
            <p:grpSp>
              <p:nvGrpSpPr>
                <p:cNvPr id="157" name="Groupe 33">
                  <a:extLst>
                    <a:ext uri="{FF2B5EF4-FFF2-40B4-BE49-F238E27FC236}">
                      <a16:creationId xmlns:a16="http://schemas.microsoft.com/office/drawing/2014/main" id="{E1881F4A-6678-40FB-B73B-AE3BD74E52AD}"/>
                    </a:ext>
                  </a:extLst>
                </p:cNvPr>
                <p:cNvGrpSpPr>
                  <a:grpSpLocks/>
                </p:cNvGrpSpPr>
                <p:nvPr/>
              </p:nvGrpSpPr>
              <p:grpSpPr bwMode="auto">
                <a:xfrm rot="-5188777">
                  <a:off x="2690019" y="2509044"/>
                  <a:ext cx="171450" cy="153988"/>
                  <a:chOff x="4339966" y="1005332"/>
                  <a:chExt cx="417989" cy="405152"/>
                </a:xfrm>
              </p:grpSpPr>
              <p:sp>
                <p:nvSpPr>
                  <p:cNvPr id="240" name="Freeform 328">
                    <a:extLst>
                      <a:ext uri="{FF2B5EF4-FFF2-40B4-BE49-F238E27FC236}">
                        <a16:creationId xmlns:a16="http://schemas.microsoft.com/office/drawing/2014/main" id="{4AFB35E9-E5B8-4F63-B25B-C7760704202D}"/>
                      </a:ext>
                    </a:extLst>
                  </p:cNvPr>
                  <p:cNvSpPr>
                    <a:spLocks/>
                  </p:cNvSpPr>
                  <p:nvPr/>
                </p:nvSpPr>
                <p:spPr bwMode="auto">
                  <a:xfrm rot="5400000">
                    <a:off x="4346385" y="998913"/>
                    <a:ext cx="405152" cy="417989"/>
                  </a:xfrm>
                  <a:custGeom>
                    <a:avLst/>
                    <a:gdLst>
                      <a:gd name="T0" fmla="*/ 27 w 31"/>
                      <a:gd name="T1" fmla="*/ 12 h 30"/>
                      <a:gd name="T2" fmla="*/ 26 w 31"/>
                      <a:gd name="T3" fmla="*/ 8 h 30"/>
                      <a:gd name="T4" fmla="*/ 19 w 31"/>
                      <a:gd name="T5" fmla="*/ 8 h 30"/>
                      <a:gd name="T6" fmla="*/ 8 w 31"/>
                      <a:gd name="T7" fmla="*/ 16 h 30"/>
                      <a:gd name="T8" fmla="*/ 5 w 31"/>
                      <a:gd name="T9" fmla="*/ 23 h 30"/>
                      <a:gd name="T10" fmla="*/ 8 w 31"/>
                      <a:gd name="T11" fmla="*/ 25 h 30"/>
                      <a:gd name="T12" fmla="*/ 7 w 31"/>
                      <a:gd name="T13" fmla="*/ 30 h 30"/>
                      <a:gd name="T14" fmla="*/ 0 w 31"/>
                      <a:gd name="T15" fmla="*/ 25 h 30"/>
                      <a:gd name="T16" fmla="*/ 1 w 31"/>
                      <a:gd name="T17" fmla="*/ 15 h 30"/>
                      <a:gd name="T18" fmla="*/ 6 w 31"/>
                      <a:gd name="T19" fmla="*/ 9 h 30"/>
                      <a:gd name="T20" fmla="*/ 16 w 31"/>
                      <a:gd name="T21" fmla="*/ 2 h 30"/>
                      <a:gd name="T22" fmla="*/ 22 w 31"/>
                      <a:gd name="T23" fmla="*/ 0 h 30"/>
                      <a:gd name="T24" fmla="*/ 30 w 31"/>
                      <a:gd name="T25" fmla="*/ 5 h 30"/>
                      <a:gd name="T26" fmla="*/ 31 w 31"/>
                      <a:gd name="T27" fmla="*/ 12 h 30"/>
                      <a:gd name="T28" fmla="*/ 27 w 31"/>
                      <a:gd name="T29" fmla="*/ 12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1" h="30">
                        <a:moveTo>
                          <a:pt x="27" y="12"/>
                        </a:moveTo>
                        <a:lnTo>
                          <a:pt x="26" y="8"/>
                        </a:lnTo>
                        <a:lnTo>
                          <a:pt x="19" y="8"/>
                        </a:lnTo>
                        <a:lnTo>
                          <a:pt x="8" y="16"/>
                        </a:lnTo>
                        <a:lnTo>
                          <a:pt x="5" y="23"/>
                        </a:lnTo>
                        <a:lnTo>
                          <a:pt x="8" y="25"/>
                        </a:lnTo>
                        <a:lnTo>
                          <a:pt x="7" y="30"/>
                        </a:lnTo>
                        <a:lnTo>
                          <a:pt x="0" y="25"/>
                        </a:lnTo>
                        <a:lnTo>
                          <a:pt x="1" y="15"/>
                        </a:lnTo>
                        <a:lnTo>
                          <a:pt x="6" y="9"/>
                        </a:lnTo>
                        <a:lnTo>
                          <a:pt x="16" y="2"/>
                        </a:lnTo>
                        <a:lnTo>
                          <a:pt x="22" y="0"/>
                        </a:lnTo>
                        <a:lnTo>
                          <a:pt x="30" y="5"/>
                        </a:lnTo>
                        <a:lnTo>
                          <a:pt x="31" y="12"/>
                        </a:lnTo>
                        <a:lnTo>
                          <a:pt x="27" y="12"/>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sp>
                <p:nvSpPr>
                  <p:cNvPr id="241" name="Freeform 331">
                    <a:extLst>
                      <a:ext uri="{FF2B5EF4-FFF2-40B4-BE49-F238E27FC236}">
                        <a16:creationId xmlns:a16="http://schemas.microsoft.com/office/drawing/2014/main" id="{25060610-11F2-4533-811E-4B7F414CB358}"/>
                      </a:ext>
                    </a:extLst>
                  </p:cNvPr>
                  <p:cNvSpPr>
                    <a:spLocks/>
                  </p:cNvSpPr>
                  <p:nvPr/>
                </p:nvSpPr>
                <p:spPr bwMode="auto">
                  <a:xfrm rot="5400000">
                    <a:off x="4549519" y="1089500"/>
                    <a:ext cx="162489" cy="119796"/>
                  </a:xfrm>
                  <a:custGeom>
                    <a:avLst/>
                    <a:gdLst>
                      <a:gd name="T0" fmla="*/ 8 w 11"/>
                      <a:gd name="T1" fmla="*/ 8 h 9"/>
                      <a:gd name="T2" fmla="*/ 7 w 11"/>
                      <a:gd name="T3" fmla="*/ 8 h 9"/>
                      <a:gd name="T4" fmla="*/ 5 w 11"/>
                      <a:gd name="T5" fmla="*/ 9 h 9"/>
                      <a:gd name="T6" fmla="*/ 4 w 11"/>
                      <a:gd name="T7" fmla="*/ 9 h 9"/>
                      <a:gd name="T8" fmla="*/ 3 w 11"/>
                      <a:gd name="T9" fmla="*/ 9 h 9"/>
                      <a:gd name="T10" fmla="*/ 2 w 11"/>
                      <a:gd name="T11" fmla="*/ 9 h 9"/>
                      <a:gd name="T12" fmla="*/ 1 w 11"/>
                      <a:gd name="T13" fmla="*/ 8 h 9"/>
                      <a:gd name="T14" fmla="*/ 0 w 11"/>
                      <a:gd name="T15" fmla="*/ 7 h 9"/>
                      <a:gd name="T16" fmla="*/ 0 w 11"/>
                      <a:gd name="T17" fmla="*/ 5 h 9"/>
                      <a:gd name="T18" fmla="*/ 1 w 11"/>
                      <a:gd name="T19" fmla="*/ 4 h 9"/>
                      <a:gd name="T20" fmla="*/ 1 w 11"/>
                      <a:gd name="T21" fmla="*/ 3 h 9"/>
                      <a:gd name="T22" fmla="*/ 3 w 11"/>
                      <a:gd name="T23" fmla="*/ 2 h 9"/>
                      <a:gd name="T24" fmla="*/ 4 w 11"/>
                      <a:gd name="T25" fmla="*/ 1 h 9"/>
                      <a:gd name="T26" fmla="*/ 5 w 11"/>
                      <a:gd name="T27" fmla="*/ 0 h 9"/>
                      <a:gd name="T28" fmla="*/ 7 w 11"/>
                      <a:gd name="T29" fmla="*/ 0 h 9"/>
                      <a:gd name="T30" fmla="*/ 8 w 11"/>
                      <a:gd name="T31" fmla="*/ 0 h 9"/>
                      <a:gd name="T32" fmla="*/ 9 w 11"/>
                      <a:gd name="T33" fmla="*/ 0 h 9"/>
                      <a:gd name="T34" fmla="*/ 10 w 11"/>
                      <a:gd name="T35" fmla="*/ 1 h 9"/>
                      <a:gd name="T36" fmla="*/ 11 w 11"/>
                      <a:gd name="T37" fmla="*/ 2 h 9"/>
                      <a:gd name="T38" fmla="*/ 11 w 11"/>
                      <a:gd name="T39" fmla="*/ 4 h 9"/>
                      <a:gd name="T40" fmla="*/ 10 w 11"/>
                      <a:gd name="T41" fmla="*/ 5 h 9"/>
                      <a:gd name="T42" fmla="*/ 9 w 11"/>
                      <a:gd name="T43" fmla="*/ 7 h 9"/>
                      <a:gd name="T44" fmla="*/ 8 w 11"/>
                      <a:gd name="T45" fmla="*/ 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 h="9">
                        <a:moveTo>
                          <a:pt x="8" y="8"/>
                        </a:moveTo>
                        <a:lnTo>
                          <a:pt x="7" y="8"/>
                        </a:lnTo>
                        <a:lnTo>
                          <a:pt x="5" y="9"/>
                        </a:lnTo>
                        <a:lnTo>
                          <a:pt x="4" y="9"/>
                        </a:lnTo>
                        <a:lnTo>
                          <a:pt x="3" y="9"/>
                        </a:lnTo>
                        <a:lnTo>
                          <a:pt x="2" y="9"/>
                        </a:lnTo>
                        <a:lnTo>
                          <a:pt x="1" y="8"/>
                        </a:lnTo>
                        <a:lnTo>
                          <a:pt x="0" y="7"/>
                        </a:lnTo>
                        <a:lnTo>
                          <a:pt x="0" y="5"/>
                        </a:lnTo>
                        <a:lnTo>
                          <a:pt x="1" y="4"/>
                        </a:lnTo>
                        <a:lnTo>
                          <a:pt x="1" y="3"/>
                        </a:lnTo>
                        <a:lnTo>
                          <a:pt x="3" y="2"/>
                        </a:lnTo>
                        <a:lnTo>
                          <a:pt x="4" y="1"/>
                        </a:lnTo>
                        <a:lnTo>
                          <a:pt x="5" y="0"/>
                        </a:lnTo>
                        <a:lnTo>
                          <a:pt x="7" y="0"/>
                        </a:lnTo>
                        <a:lnTo>
                          <a:pt x="8" y="0"/>
                        </a:lnTo>
                        <a:lnTo>
                          <a:pt x="9" y="0"/>
                        </a:lnTo>
                        <a:lnTo>
                          <a:pt x="10" y="1"/>
                        </a:lnTo>
                        <a:lnTo>
                          <a:pt x="11" y="2"/>
                        </a:lnTo>
                        <a:lnTo>
                          <a:pt x="11" y="4"/>
                        </a:lnTo>
                        <a:lnTo>
                          <a:pt x="10" y="5"/>
                        </a:lnTo>
                        <a:lnTo>
                          <a:pt x="9" y="7"/>
                        </a:lnTo>
                        <a:lnTo>
                          <a:pt x="8" y="8"/>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grpSp>
            <p:grpSp>
              <p:nvGrpSpPr>
                <p:cNvPr id="158" name="Groupe 36">
                  <a:extLst>
                    <a:ext uri="{FF2B5EF4-FFF2-40B4-BE49-F238E27FC236}">
                      <a16:creationId xmlns:a16="http://schemas.microsoft.com/office/drawing/2014/main" id="{9B8218C3-E6DF-42FD-8EA1-4A30041DDC15}"/>
                    </a:ext>
                  </a:extLst>
                </p:cNvPr>
                <p:cNvGrpSpPr>
                  <a:grpSpLocks/>
                </p:cNvGrpSpPr>
                <p:nvPr/>
              </p:nvGrpSpPr>
              <p:grpSpPr bwMode="auto">
                <a:xfrm rot="-573653">
                  <a:off x="3576638" y="2538413"/>
                  <a:ext cx="153987" cy="171450"/>
                  <a:chOff x="4339966" y="1005332"/>
                  <a:chExt cx="417989" cy="405152"/>
                </a:xfrm>
              </p:grpSpPr>
              <p:sp>
                <p:nvSpPr>
                  <p:cNvPr id="238" name="Freeform 328">
                    <a:extLst>
                      <a:ext uri="{FF2B5EF4-FFF2-40B4-BE49-F238E27FC236}">
                        <a16:creationId xmlns:a16="http://schemas.microsoft.com/office/drawing/2014/main" id="{4DA921DD-A644-4C40-9CC8-46F11DCF5FD0}"/>
                      </a:ext>
                    </a:extLst>
                  </p:cNvPr>
                  <p:cNvSpPr>
                    <a:spLocks/>
                  </p:cNvSpPr>
                  <p:nvPr/>
                </p:nvSpPr>
                <p:spPr bwMode="auto">
                  <a:xfrm rot="5400000">
                    <a:off x="4346385" y="998913"/>
                    <a:ext cx="405152" cy="417989"/>
                  </a:xfrm>
                  <a:custGeom>
                    <a:avLst/>
                    <a:gdLst>
                      <a:gd name="T0" fmla="*/ 27 w 31"/>
                      <a:gd name="T1" fmla="*/ 12 h 30"/>
                      <a:gd name="T2" fmla="*/ 26 w 31"/>
                      <a:gd name="T3" fmla="*/ 8 h 30"/>
                      <a:gd name="T4" fmla="*/ 19 w 31"/>
                      <a:gd name="T5" fmla="*/ 8 h 30"/>
                      <a:gd name="T6" fmla="*/ 8 w 31"/>
                      <a:gd name="T7" fmla="*/ 16 h 30"/>
                      <a:gd name="T8" fmla="*/ 5 w 31"/>
                      <a:gd name="T9" fmla="*/ 23 h 30"/>
                      <a:gd name="T10" fmla="*/ 8 w 31"/>
                      <a:gd name="T11" fmla="*/ 25 h 30"/>
                      <a:gd name="T12" fmla="*/ 7 w 31"/>
                      <a:gd name="T13" fmla="*/ 30 h 30"/>
                      <a:gd name="T14" fmla="*/ 0 w 31"/>
                      <a:gd name="T15" fmla="*/ 25 h 30"/>
                      <a:gd name="T16" fmla="*/ 1 w 31"/>
                      <a:gd name="T17" fmla="*/ 15 h 30"/>
                      <a:gd name="T18" fmla="*/ 6 w 31"/>
                      <a:gd name="T19" fmla="*/ 9 h 30"/>
                      <a:gd name="T20" fmla="*/ 16 w 31"/>
                      <a:gd name="T21" fmla="*/ 2 h 30"/>
                      <a:gd name="T22" fmla="*/ 22 w 31"/>
                      <a:gd name="T23" fmla="*/ 0 h 30"/>
                      <a:gd name="T24" fmla="*/ 30 w 31"/>
                      <a:gd name="T25" fmla="*/ 5 h 30"/>
                      <a:gd name="T26" fmla="*/ 31 w 31"/>
                      <a:gd name="T27" fmla="*/ 12 h 30"/>
                      <a:gd name="T28" fmla="*/ 27 w 31"/>
                      <a:gd name="T29" fmla="*/ 12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1" h="30">
                        <a:moveTo>
                          <a:pt x="27" y="12"/>
                        </a:moveTo>
                        <a:lnTo>
                          <a:pt x="26" y="8"/>
                        </a:lnTo>
                        <a:lnTo>
                          <a:pt x="19" y="8"/>
                        </a:lnTo>
                        <a:lnTo>
                          <a:pt x="8" y="16"/>
                        </a:lnTo>
                        <a:lnTo>
                          <a:pt x="5" y="23"/>
                        </a:lnTo>
                        <a:lnTo>
                          <a:pt x="8" y="25"/>
                        </a:lnTo>
                        <a:lnTo>
                          <a:pt x="7" y="30"/>
                        </a:lnTo>
                        <a:lnTo>
                          <a:pt x="0" y="25"/>
                        </a:lnTo>
                        <a:lnTo>
                          <a:pt x="1" y="15"/>
                        </a:lnTo>
                        <a:lnTo>
                          <a:pt x="6" y="9"/>
                        </a:lnTo>
                        <a:lnTo>
                          <a:pt x="16" y="2"/>
                        </a:lnTo>
                        <a:lnTo>
                          <a:pt x="22" y="0"/>
                        </a:lnTo>
                        <a:lnTo>
                          <a:pt x="30" y="5"/>
                        </a:lnTo>
                        <a:lnTo>
                          <a:pt x="31" y="12"/>
                        </a:lnTo>
                        <a:lnTo>
                          <a:pt x="27" y="12"/>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sp>
                <p:nvSpPr>
                  <p:cNvPr id="239" name="Freeform 331">
                    <a:extLst>
                      <a:ext uri="{FF2B5EF4-FFF2-40B4-BE49-F238E27FC236}">
                        <a16:creationId xmlns:a16="http://schemas.microsoft.com/office/drawing/2014/main" id="{3AD2BF86-7008-4A0E-8430-C56233BD69DA}"/>
                      </a:ext>
                    </a:extLst>
                  </p:cNvPr>
                  <p:cNvSpPr>
                    <a:spLocks/>
                  </p:cNvSpPr>
                  <p:nvPr/>
                </p:nvSpPr>
                <p:spPr bwMode="auto">
                  <a:xfrm rot="5400000">
                    <a:off x="4549519" y="1089500"/>
                    <a:ext cx="162489" cy="119796"/>
                  </a:xfrm>
                  <a:custGeom>
                    <a:avLst/>
                    <a:gdLst>
                      <a:gd name="T0" fmla="*/ 8 w 11"/>
                      <a:gd name="T1" fmla="*/ 8 h 9"/>
                      <a:gd name="T2" fmla="*/ 7 w 11"/>
                      <a:gd name="T3" fmla="*/ 8 h 9"/>
                      <a:gd name="T4" fmla="*/ 5 w 11"/>
                      <a:gd name="T5" fmla="*/ 9 h 9"/>
                      <a:gd name="T6" fmla="*/ 4 w 11"/>
                      <a:gd name="T7" fmla="*/ 9 h 9"/>
                      <a:gd name="T8" fmla="*/ 3 w 11"/>
                      <a:gd name="T9" fmla="*/ 9 h 9"/>
                      <a:gd name="T10" fmla="*/ 2 w 11"/>
                      <a:gd name="T11" fmla="*/ 9 h 9"/>
                      <a:gd name="T12" fmla="*/ 1 w 11"/>
                      <a:gd name="T13" fmla="*/ 8 h 9"/>
                      <a:gd name="T14" fmla="*/ 0 w 11"/>
                      <a:gd name="T15" fmla="*/ 7 h 9"/>
                      <a:gd name="T16" fmla="*/ 0 w 11"/>
                      <a:gd name="T17" fmla="*/ 5 h 9"/>
                      <a:gd name="T18" fmla="*/ 1 w 11"/>
                      <a:gd name="T19" fmla="*/ 4 h 9"/>
                      <a:gd name="T20" fmla="*/ 1 w 11"/>
                      <a:gd name="T21" fmla="*/ 3 h 9"/>
                      <a:gd name="T22" fmla="*/ 3 w 11"/>
                      <a:gd name="T23" fmla="*/ 2 h 9"/>
                      <a:gd name="T24" fmla="*/ 4 w 11"/>
                      <a:gd name="T25" fmla="*/ 1 h 9"/>
                      <a:gd name="T26" fmla="*/ 5 w 11"/>
                      <a:gd name="T27" fmla="*/ 0 h 9"/>
                      <a:gd name="T28" fmla="*/ 7 w 11"/>
                      <a:gd name="T29" fmla="*/ 0 h 9"/>
                      <a:gd name="T30" fmla="*/ 8 w 11"/>
                      <a:gd name="T31" fmla="*/ 0 h 9"/>
                      <a:gd name="T32" fmla="*/ 9 w 11"/>
                      <a:gd name="T33" fmla="*/ 0 h 9"/>
                      <a:gd name="T34" fmla="*/ 10 w 11"/>
                      <a:gd name="T35" fmla="*/ 1 h 9"/>
                      <a:gd name="T36" fmla="*/ 11 w 11"/>
                      <a:gd name="T37" fmla="*/ 2 h 9"/>
                      <a:gd name="T38" fmla="*/ 11 w 11"/>
                      <a:gd name="T39" fmla="*/ 4 h 9"/>
                      <a:gd name="T40" fmla="*/ 10 w 11"/>
                      <a:gd name="T41" fmla="*/ 5 h 9"/>
                      <a:gd name="T42" fmla="*/ 9 w 11"/>
                      <a:gd name="T43" fmla="*/ 7 h 9"/>
                      <a:gd name="T44" fmla="*/ 8 w 11"/>
                      <a:gd name="T45" fmla="*/ 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 h="9">
                        <a:moveTo>
                          <a:pt x="8" y="8"/>
                        </a:moveTo>
                        <a:lnTo>
                          <a:pt x="7" y="8"/>
                        </a:lnTo>
                        <a:lnTo>
                          <a:pt x="5" y="9"/>
                        </a:lnTo>
                        <a:lnTo>
                          <a:pt x="4" y="9"/>
                        </a:lnTo>
                        <a:lnTo>
                          <a:pt x="3" y="9"/>
                        </a:lnTo>
                        <a:lnTo>
                          <a:pt x="2" y="9"/>
                        </a:lnTo>
                        <a:lnTo>
                          <a:pt x="1" y="8"/>
                        </a:lnTo>
                        <a:lnTo>
                          <a:pt x="0" y="7"/>
                        </a:lnTo>
                        <a:lnTo>
                          <a:pt x="0" y="5"/>
                        </a:lnTo>
                        <a:lnTo>
                          <a:pt x="1" y="4"/>
                        </a:lnTo>
                        <a:lnTo>
                          <a:pt x="1" y="3"/>
                        </a:lnTo>
                        <a:lnTo>
                          <a:pt x="3" y="2"/>
                        </a:lnTo>
                        <a:lnTo>
                          <a:pt x="4" y="1"/>
                        </a:lnTo>
                        <a:lnTo>
                          <a:pt x="5" y="0"/>
                        </a:lnTo>
                        <a:lnTo>
                          <a:pt x="7" y="0"/>
                        </a:lnTo>
                        <a:lnTo>
                          <a:pt x="8" y="0"/>
                        </a:lnTo>
                        <a:lnTo>
                          <a:pt x="9" y="0"/>
                        </a:lnTo>
                        <a:lnTo>
                          <a:pt x="10" y="1"/>
                        </a:lnTo>
                        <a:lnTo>
                          <a:pt x="11" y="2"/>
                        </a:lnTo>
                        <a:lnTo>
                          <a:pt x="11" y="4"/>
                        </a:lnTo>
                        <a:lnTo>
                          <a:pt x="10" y="5"/>
                        </a:lnTo>
                        <a:lnTo>
                          <a:pt x="9" y="7"/>
                        </a:lnTo>
                        <a:lnTo>
                          <a:pt x="8" y="8"/>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grpSp>
            <p:grpSp>
              <p:nvGrpSpPr>
                <p:cNvPr id="159" name="Groupe 39">
                  <a:extLst>
                    <a:ext uri="{FF2B5EF4-FFF2-40B4-BE49-F238E27FC236}">
                      <a16:creationId xmlns:a16="http://schemas.microsoft.com/office/drawing/2014/main" id="{E1DAD3D6-1802-4A4C-A75C-5CABE3333091}"/>
                    </a:ext>
                  </a:extLst>
                </p:cNvPr>
                <p:cNvGrpSpPr>
                  <a:grpSpLocks/>
                </p:cNvGrpSpPr>
                <p:nvPr/>
              </p:nvGrpSpPr>
              <p:grpSpPr bwMode="auto">
                <a:xfrm rot="5972653">
                  <a:off x="3543300" y="2976563"/>
                  <a:ext cx="171450" cy="152400"/>
                  <a:chOff x="4339966" y="1005332"/>
                  <a:chExt cx="417989" cy="405152"/>
                </a:xfrm>
              </p:grpSpPr>
              <p:sp>
                <p:nvSpPr>
                  <p:cNvPr id="236" name="Freeform 328">
                    <a:extLst>
                      <a:ext uri="{FF2B5EF4-FFF2-40B4-BE49-F238E27FC236}">
                        <a16:creationId xmlns:a16="http://schemas.microsoft.com/office/drawing/2014/main" id="{14BCFBE3-CD5C-4052-AD44-CEF248822F29}"/>
                      </a:ext>
                    </a:extLst>
                  </p:cNvPr>
                  <p:cNvSpPr>
                    <a:spLocks/>
                  </p:cNvSpPr>
                  <p:nvPr/>
                </p:nvSpPr>
                <p:spPr bwMode="auto">
                  <a:xfrm rot="5400000">
                    <a:off x="4346385" y="998913"/>
                    <a:ext cx="405152" cy="417989"/>
                  </a:xfrm>
                  <a:custGeom>
                    <a:avLst/>
                    <a:gdLst>
                      <a:gd name="T0" fmla="*/ 27 w 31"/>
                      <a:gd name="T1" fmla="*/ 12 h 30"/>
                      <a:gd name="T2" fmla="*/ 26 w 31"/>
                      <a:gd name="T3" fmla="*/ 8 h 30"/>
                      <a:gd name="T4" fmla="*/ 19 w 31"/>
                      <a:gd name="T5" fmla="*/ 8 h 30"/>
                      <a:gd name="T6" fmla="*/ 8 w 31"/>
                      <a:gd name="T7" fmla="*/ 16 h 30"/>
                      <a:gd name="T8" fmla="*/ 5 w 31"/>
                      <a:gd name="T9" fmla="*/ 23 h 30"/>
                      <a:gd name="T10" fmla="*/ 8 w 31"/>
                      <a:gd name="T11" fmla="*/ 25 h 30"/>
                      <a:gd name="T12" fmla="*/ 7 w 31"/>
                      <a:gd name="T13" fmla="*/ 30 h 30"/>
                      <a:gd name="T14" fmla="*/ 0 w 31"/>
                      <a:gd name="T15" fmla="*/ 25 h 30"/>
                      <a:gd name="T16" fmla="*/ 1 w 31"/>
                      <a:gd name="T17" fmla="*/ 15 h 30"/>
                      <a:gd name="T18" fmla="*/ 6 w 31"/>
                      <a:gd name="T19" fmla="*/ 9 h 30"/>
                      <a:gd name="T20" fmla="*/ 16 w 31"/>
                      <a:gd name="T21" fmla="*/ 2 h 30"/>
                      <a:gd name="T22" fmla="*/ 22 w 31"/>
                      <a:gd name="T23" fmla="*/ 0 h 30"/>
                      <a:gd name="T24" fmla="*/ 30 w 31"/>
                      <a:gd name="T25" fmla="*/ 5 h 30"/>
                      <a:gd name="T26" fmla="*/ 31 w 31"/>
                      <a:gd name="T27" fmla="*/ 12 h 30"/>
                      <a:gd name="T28" fmla="*/ 27 w 31"/>
                      <a:gd name="T29" fmla="*/ 12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1" h="30">
                        <a:moveTo>
                          <a:pt x="27" y="12"/>
                        </a:moveTo>
                        <a:lnTo>
                          <a:pt x="26" y="8"/>
                        </a:lnTo>
                        <a:lnTo>
                          <a:pt x="19" y="8"/>
                        </a:lnTo>
                        <a:lnTo>
                          <a:pt x="8" y="16"/>
                        </a:lnTo>
                        <a:lnTo>
                          <a:pt x="5" y="23"/>
                        </a:lnTo>
                        <a:lnTo>
                          <a:pt x="8" y="25"/>
                        </a:lnTo>
                        <a:lnTo>
                          <a:pt x="7" y="30"/>
                        </a:lnTo>
                        <a:lnTo>
                          <a:pt x="0" y="25"/>
                        </a:lnTo>
                        <a:lnTo>
                          <a:pt x="1" y="15"/>
                        </a:lnTo>
                        <a:lnTo>
                          <a:pt x="6" y="9"/>
                        </a:lnTo>
                        <a:lnTo>
                          <a:pt x="16" y="2"/>
                        </a:lnTo>
                        <a:lnTo>
                          <a:pt x="22" y="0"/>
                        </a:lnTo>
                        <a:lnTo>
                          <a:pt x="30" y="5"/>
                        </a:lnTo>
                        <a:lnTo>
                          <a:pt x="31" y="12"/>
                        </a:lnTo>
                        <a:lnTo>
                          <a:pt x="27" y="12"/>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sp>
                <p:nvSpPr>
                  <p:cNvPr id="237" name="Freeform 331">
                    <a:extLst>
                      <a:ext uri="{FF2B5EF4-FFF2-40B4-BE49-F238E27FC236}">
                        <a16:creationId xmlns:a16="http://schemas.microsoft.com/office/drawing/2014/main" id="{D01459D1-5B6C-4896-92A5-CBC8DD581454}"/>
                      </a:ext>
                    </a:extLst>
                  </p:cNvPr>
                  <p:cNvSpPr>
                    <a:spLocks/>
                  </p:cNvSpPr>
                  <p:nvPr/>
                </p:nvSpPr>
                <p:spPr bwMode="auto">
                  <a:xfrm rot="5400000">
                    <a:off x="4549519" y="1089500"/>
                    <a:ext cx="162489" cy="119796"/>
                  </a:xfrm>
                  <a:custGeom>
                    <a:avLst/>
                    <a:gdLst>
                      <a:gd name="T0" fmla="*/ 8 w 11"/>
                      <a:gd name="T1" fmla="*/ 8 h 9"/>
                      <a:gd name="T2" fmla="*/ 7 w 11"/>
                      <a:gd name="T3" fmla="*/ 8 h 9"/>
                      <a:gd name="T4" fmla="*/ 5 w 11"/>
                      <a:gd name="T5" fmla="*/ 9 h 9"/>
                      <a:gd name="T6" fmla="*/ 4 w 11"/>
                      <a:gd name="T7" fmla="*/ 9 h 9"/>
                      <a:gd name="T8" fmla="*/ 3 w 11"/>
                      <a:gd name="T9" fmla="*/ 9 h 9"/>
                      <a:gd name="T10" fmla="*/ 2 w 11"/>
                      <a:gd name="T11" fmla="*/ 9 h 9"/>
                      <a:gd name="T12" fmla="*/ 1 w 11"/>
                      <a:gd name="T13" fmla="*/ 8 h 9"/>
                      <a:gd name="T14" fmla="*/ 0 w 11"/>
                      <a:gd name="T15" fmla="*/ 7 h 9"/>
                      <a:gd name="T16" fmla="*/ 0 w 11"/>
                      <a:gd name="T17" fmla="*/ 5 h 9"/>
                      <a:gd name="T18" fmla="*/ 1 w 11"/>
                      <a:gd name="T19" fmla="*/ 4 h 9"/>
                      <a:gd name="T20" fmla="*/ 1 w 11"/>
                      <a:gd name="T21" fmla="*/ 3 h 9"/>
                      <a:gd name="T22" fmla="*/ 3 w 11"/>
                      <a:gd name="T23" fmla="*/ 2 h 9"/>
                      <a:gd name="T24" fmla="*/ 4 w 11"/>
                      <a:gd name="T25" fmla="*/ 1 h 9"/>
                      <a:gd name="T26" fmla="*/ 5 w 11"/>
                      <a:gd name="T27" fmla="*/ 0 h 9"/>
                      <a:gd name="T28" fmla="*/ 7 w 11"/>
                      <a:gd name="T29" fmla="*/ 0 h 9"/>
                      <a:gd name="T30" fmla="*/ 8 w 11"/>
                      <a:gd name="T31" fmla="*/ 0 h 9"/>
                      <a:gd name="T32" fmla="*/ 9 w 11"/>
                      <a:gd name="T33" fmla="*/ 0 h 9"/>
                      <a:gd name="T34" fmla="*/ 10 w 11"/>
                      <a:gd name="T35" fmla="*/ 1 h 9"/>
                      <a:gd name="T36" fmla="*/ 11 w 11"/>
                      <a:gd name="T37" fmla="*/ 2 h 9"/>
                      <a:gd name="T38" fmla="*/ 11 w 11"/>
                      <a:gd name="T39" fmla="*/ 4 h 9"/>
                      <a:gd name="T40" fmla="*/ 10 w 11"/>
                      <a:gd name="T41" fmla="*/ 5 h 9"/>
                      <a:gd name="T42" fmla="*/ 9 w 11"/>
                      <a:gd name="T43" fmla="*/ 7 h 9"/>
                      <a:gd name="T44" fmla="*/ 8 w 11"/>
                      <a:gd name="T45" fmla="*/ 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 h="9">
                        <a:moveTo>
                          <a:pt x="8" y="8"/>
                        </a:moveTo>
                        <a:lnTo>
                          <a:pt x="7" y="8"/>
                        </a:lnTo>
                        <a:lnTo>
                          <a:pt x="5" y="9"/>
                        </a:lnTo>
                        <a:lnTo>
                          <a:pt x="4" y="9"/>
                        </a:lnTo>
                        <a:lnTo>
                          <a:pt x="3" y="9"/>
                        </a:lnTo>
                        <a:lnTo>
                          <a:pt x="2" y="9"/>
                        </a:lnTo>
                        <a:lnTo>
                          <a:pt x="1" y="8"/>
                        </a:lnTo>
                        <a:lnTo>
                          <a:pt x="0" y="7"/>
                        </a:lnTo>
                        <a:lnTo>
                          <a:pt x="0" y="5"/>
                        </a:lnTo>
                        <a:lnTo>
                          <a:pt x="1" y="4"/>
                        </a:lnTo>
                        <a:lnTo>
                          <a:pt x="1" y="3"/>
                        </a:lnTo>
                        <a:lnTo>
                          <a:pt x="3" y="2"/>
                        </a:lnTo>
                        <a:lnTo>
                          <a:pt x="4" y="1"/>
                        </a:lnTo>
                        <a:lnTo>
                          <a:pt x="5" y="0"/>
                        </a:lnTo>
                        <a:lnTo>
                          <a:pt x="7" y="0"/>
                        </a:lnTo>
                        <a:lnTo>
                          <a:pt x="8" y="0"/>
                        </a:lnTo>
                        <a:lnTo>
                          <a:pt x="9" y="0"/>
                        </a:lnTo>
                        <a:lnTo>
                          <a:pt x="10" y="1"/>
                        </a:lnTo>
                        <a:lnTo>
                          <a:pt x="11" y="2"/>
                        </a:lnTo>
                        <a:lnTo>
                          <a:pt x="11" y="4"/>
                        </a:lnTo>
                        <a:lnTo>
                          <a:pt x="10" y="5"/>
                        </a:lnTo>
                        <a:lnTo>
                          <a:pt x="9" y="7"/>
                        </a:lnTo>
                        <a:lnTo>
                          <a:pt x="8" y="8"/>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grpSp>
            <p:grpSp>
              <p:nvGrpSpPr>
                <p:cNvPr id="160" name="Groupe 42">
                  <a:extLst>
                    <a:ext uri="{FF2B5EF4-FFF2-40B4-BE49-F238E27FC236}">
                      <a16:creationId xmlns:a16="http://schemas.microsoft.com/office/drawing/2014/main" id="{D37A6A13-C2C0-4EF8-A5A4-DCDA909359A8}"/>
                    </a:ext>
                  </a:extLst>
                </p:cNvPr>
                <p:cNvGrpSpPr>
                  <a:grpSpLocks/>
                </p:cNvGrpSpPr>
                <p:nvPr/>
              </p:nvGrpSpPr>
              <p:grpSpPr bwMode="auto">
                <a:xfrm rot="-10358823">
                  <a:off x="2662238" y="2962275"/>
                  <a:ext cx="152400" cy="171450"/>
                  <a:chOff x="4339966" y="1005332"/>
                  <a:chExt cx="417989" cy="405152"/>
                </a:xfrm>
              </p:grpSpPr>
              <p:sp>
                <p:nvSpPr>
                  <p:cNvPr id="234" name="Freeform 328">
                    <a:extLst>
                      <a:ext uri="{FF2B5EF4-FFF2-40B4-BE49-F238E27FC236}">
                        <a16:creationId xmlns:a16="http://schemas.microsoft.com/office/drawing/2014/main" id="{969178EA-08C4-4121-8F58-045E7B741D7A}"/>
                      </a:ext>
                    </a:extLst>
                  </p:cNvPr>
                  <p:cNvSpPr>
                    <a:spLocks/>
                  </p:cNvSpPr>
                  <p:nvPr/>
                </p:nvSpPr>
                <p:spPr bwMode="auto">
                  <a:xfrm rot="5400000">
                    <a:off x="4346385" y="998913"/>
                    <a:ext cx="405152" cy="417989"/>
                  </a:xfrm>
                  <a:custGeom>
                    <a:avLst/>
                    <a:gdLst>
                      <a:gd name="T0" fmla="*/ 27 w 31"/>
                      <a:gd name="T1" fmla="*/ 12 h 30"/>
                      <a:gd name="T2" fmla="*/ 26 w 31"/>
                      <a:gd name="T3" fmla="*/ 8 h 30"/>
                      <a:gd name="T4" fmla="*/ 19 w 31"/>
                      <a:gd name="T5" fmla="*/ 8 h 30"/>
                      <a:gd name="T6" fmla="*/ 8 w 31"/>
                      <a:gd name="T7" fmla="*/ 16 h 30"/>
                      <a:gd name="T8" fmla="*/ 5 w 31"/>
                      <a:gd name="T9" fmla="*/ 23 h 30"/>
                      <a:gd name="T10" fmla="*/ 8 w 31"/>
                      <a:gd name="T11" fmla="*/ 25 h 30"/>
                      <a:gd name="T12" fmla="*/ 7 w 31"/>
                      <a:gd name="T13" fmla="*/ 30 h 30"/>
                      <a:gd name="T14" fmla="*/ 0 w 31"/>
                      <a:gd name="T15" fmla="*/ 25 h 30"/>
                      <a:gd name="T16" fmla="*/ 1 w 31"/>
                      <a:gd name="T17" fmla="*/ 15 h 30"/>
                      <a:gd name="T18" fmla="*/ 6 w 31"/>
                      <a:gd name="T19" fmla="*/ 9 h 30"/>
                      <a:gd name="T20" fmla="*/ 16 w 31"/>
                      <a:gd name="T21" fmla="*/ 2 h 30"/>
                      <a:gd name="T22" fmla="*/ 22 w 31"/>
                      <a:gd name="T23" fmla="*/ 0 h 30"/>
                      <a:gd name="T24" fmla="*/ 30 w 31"/>
                      <a:gd name="T25" fmla="*/ 5 h 30"/>
                      <a:gd name="T26" fmla="*/ 31 w 31"/>
                      <a:gd name="T27" fmla="*/ 12 h 30"/>
                      <a:gd name="T28" fmla="*/ 27 w 31"/>
                      <a:gd name="T29" fmla="*/ 12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1" h="30">
                        <a:moveTo>
                          <a:pt x="27" y="12"/>
                        </a:moveTo>
                        <a:lnTo>
                          <a:pt x="26" y="8"/>
                        </a:lnTo>
                        <a:lnTo>
                          <a:pt x="19" y="8"/>
                        </a:lnTo>
                        <a:lnTo>
                          <a:pt x="8" y="16"/>
                        </a:lnTo>
                        <a:lnTo>
                          <a:pt x="5" y="23"/>
                        </a:lnTo>
                        <a:lnTo>
                          <a:pt x="8" y="25"/>
                        </a:lnTo>
                        <a:lnTo>
                          <a:pt x="7" y="30"/>
                        </a:lnTo>
                        <a:lnTo>
                          <a:pt x="0" y="25"/>
                        </a:lnTo>
                        <a:lnTo>
                          <a:pt x="1" y="15"/>
                        </a:lnTo>
                        <a:lnTo>
                          <a:pt x="6" y="9"/>
                        </a:lnTo>
                        <a:lnTo>
                          <a:pt x="16" y="2"/>
                        </a:lnTo>
                        <a:lnTo>
                          <a:pt x="22" y="0"/>
                        </a:lnTo>
                        <a:lnTo>
                          <a:pt x="30" y="5"/>
                        </a:lnTo>
                        <a:lnTo>
                          <a:pt x="31" y="12"/>
                        </a:lnTo>
                        <a:lnTo>
                          <a:pt x="27" y="12"/>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sp>
                <p:nvSpPr>
                  <p:cNvPr id="235" name="Freeform 331">
                    <a:extLst>
                      <a:ext uri="{FF2B5EF4-FFF2-40B4-BE49-F238E27FC236}">
                        <a16:creationId xmlns:a16="http://schemas.microsoft.com/office/drawing/2014/main" id="{72CF3007-ADF7-4473-AFD2-97F300F0F5D2}"/>
                      </a:ext>
                    </a:extLst>
                  </p:cNvPr>
                  <p:cNvSpPr>
                    <a:spLocks/>
                  </p:cNvSpPr>
                  <p:nvPr/>
                </p:nvSpPr>
                <p:spPr bwMode="auto">
                  <a:xfrm rot="5400000">
                    <a:off x="4549519" y="1089500"/>
                    <a:ext cx="162489" cy="119796"/>
                  </a:xfrm>
                  <a:custGeom>
                    <a:avLst/>
                    <a:gdLst>
                      <a:gd name="T0" fmla="*/ 8 w 11"/>
                      <a:gd name="T1" fmla="*/ 8 h 9"/>
                      <a:gd name="T2" fmla="*/ 7 w 11"/>
                      <a:gd name="T3" fmla="*/ 8 h 9"/>
                      <a:gd name="T4" fmla="*/ 5 w 11"/>
                      <a:gd name="T5" fmla="*/ 9 h 9"/>
                      <a:gd name="T6" fmla="*/ 4 w 11"/>
                      <a:gd name="T7" fmla="*/ 9 h 9"/>
                      <a:gd name="T8" fmla="*/ 3 w 11"/>
                      <a:gd name="T9" fmla="*/ 9 h 9"/>
                      <a:gd name="T10" fmla="*/ 2 w 11"/>
                      <a:gd name="T11" fmla="*/ 9 h 9"/>
                      <a:gd name="T12" fmla="*/ 1 w 11"/>
                      <a:gd name="T13" fmla="*/ 8 h 9"/>
                      <a:gd name="T14" fmla="*/ 0 w 11"/>
                      <a:gd name="T15" fmla="*/ 7 h 9"/>
                      <a:gd name="T16" fmla="*/ 0 w 11"/>
                      <a:gd name="T17" fmla="*/ 5 h 9"/>
                      <a:gd name="T18" fmla="*/ 1 w 11"/>
                      <a:gd name="T19" fmla="*/ 4 h 9"/>
                      <a:gd name="T20" fmla="*/ 1 w 11"/>
                      <a:gd name="T21" fmla="*/ 3 h 9"/>
                      <a:gd name="T22" fmla="*/ 3 w 11"/>
                      <a:gd name="T23" fmla="*/ 2 h 9"/>
                      <a:gd name="T24" fmla="*/ 4 w 11"/>
                      <a:gd name="T25" fmla="*/ 1 h 9"/>
                      <a:gd name="T26" fmla="*/ 5 w 11"/>
                      <a:gd name="T27" fmla="*/ 0 h 9"/>
                      <a:gd name="T28" fmla="*/ 7 w 11"/>
                      <a:gd name="T29" fmla="*/ 0 h 9"/>
                      <a:gd name="T30" fmla="*/ 8 w 11"/>
                      <a:gd name="T31" fmla="*/ 0 h 9"/>
                      <a:gd name="T32" fmla="*/ 9 w 11"/>
                      <a:gd name="T33" fmla="*/ 0 h 9"/>
                      <a:gd name="T34" fmla="*/ 10 w 11"/>
                      <a:gd name="T35" fmla="*/ 1 h 9"/>
                      <a:gd name="T36" fmla="*/ 11 w 11"/>
                      <a:gd name="T37" fmla="*/ 2 h 9"/>
                      <a:gd name="T38" fmla="*/ 11 w 11"/>
                      <a:gd name="T39" fmla="*/ 4 h 9"/>
                      <a:gd name="T40" fmla="*/ 10 w 11"/>
                      <a:gd name="T41" fmla="*/ 5 h 9"/>
                      <a:gd name="T42" fmla="*/ 9 w 11"/>
                      <a:gd name="T43" fmla="*/ 7 h 9"/>
                      <a:gd name="T44" fmla="*/ 8 w 11"/>
                      <a:gd name="T45" fmla="*/ 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 h="9">
                        <a:moveTo>
                          <a:pt x="8" y="8"/>
                        </a:moveTo>
                        <a:lnTo>
                          <a:pt x="7" y="8"/>
                        </a:lnTo>
                        <a:lnTo>
                          <a:pt x="5" y="9"/>
                        </a:lnTo>
                        <a:lnTo>
                          <a:pt x="4" y="9"/>
                        </a:lnTo>
                        <a:lnTo>
                          <a:pt x="3" y="9"/>
                        </a:lnTo>
                        <a:lnTo>
                          <a:pt x="2" y="9"/>
                        </a:lnTo>
                        <a:lnTo>
                          <a:pt x="1" y="8"/>
                        </a:lnTo>
                        <a:lnTo>
                          <a:pt x="0" y="7"/>
                        </a:lnTo>
                        <a:lnTo>
                          <a:pt x="0" y="5"/>
                        </a:lnTo>
                        <a:lnTo>
                          <a:pt x="1" y="4"/>
                        </a:lnTo>
                        <a:lnTo>
                          <a:pt x="1" y="3"/>
                        </a:lnTo>
                        <a:lnTo>
                          <a:pt x="3" y="2"/>
                        </a:lnTo>
                        <a:lnTo>
                          <a:pt x="4" y="1"/>
                        </a:lnTo>
                        <a:lnTo>
                          <a:pt x="5" y="0"/>
                        </a:lnTo>
                        <a:lnTo>
                          <a:pt x="7" y="0"/>
                        </a:lnTo>
                        <a:lnTo>
                          <a:pt x="8" y="0"/>
                        </a:lnTo>
                        <a:lnTo>
                          <a:pt x="9" y="0"/>
                        </a:lnTo>
                        <a:lnTo>
                          <a:pt x="10" y="1"/>
                        </a:lnTo>
                        <a:lnTo>
                          <a:pt x="11" y="2"/>
                        </a:lnTo>
                        <a:lnTo>
                          <a:pt x="11" y="4"/>
                        </a:lnTo>
                        <a:lnTo>
                          <a:pt x="10" y="5"/>
                        </a:lnTo>
                        <a:lnTo>
                          <a:pt x="9" y="7"/>
                        </a:lnTo>
                        <a:lnTo>
                          <a:pt x="8" y="8"/>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grpSp>
            <p:grpSp>
              <p:nvGrpSpPr>
                <p:cNvPr id="161" name="Groupe 57">
                  <a:extLst>
                    <a:ext uri="{FF2B5EF4-FFF2-40B4-BE49-F238E27FC236}">
                      <a16:creationId xmlns:a16="http://schemas.microsoft.com/office/drawing/2014/main" id="{DF0A30C3-DE53-4644-A350-ECD3CFB58C16}"/>
                    </a:ext>
                  </a:extLst>
                </p:cNvPr>
                <p:cNvGrpSpPr>
                  <a:grpSpLocks/>
                </p:cNvGrpSpPr>
                <p:nvPr/>
              </p:nvGrpSpPr>
              <p:grpSpPr bwMode="auto">
                <a:xfrm rot="-5188777">
                  <a:off x="4451350" y="2516188"/>
                  <a:ext cx="171450" cy="152400"/>
                  <a:chOff x="4339966" y="1005332"/>
                  <a:chExt cx="417989" cy="405152"/>
                </a:xfrm>
              </p:grpSpPr>
              <p:sp>
                <p:nvSpPr>
                  <p:cNvPr id="232" name="Freeform 328">
                    <a:extLst>
                      <a:ext uri="{FF2B5EF4-FFF2-40B4-BE49-F238E27FC236}">
                        <a16:creationId xmlns:a16="http://schemas.microsoft.com/office/drawing/2014/main" id="{5F95A97C-9C63-4FFB-B866-95A31661C268}"/>
                      </a:ext>
                    </a:extLst>
                  </p:cNvPr>
                  <p:cNvSpPr>
                    <a:spLocks/>
                  </p:cNvSpPr>
                  <p:nvPr/>
                </p:nvSpPr>
                <p:spPr bwMode="auto">
                  <a:xfrm rot="5400000">
                    <a:off x="4346385" y="998913"/>
                    <a:ext cx="405152" cy="417989"/>
                  </a:xfrm>
                  <a:custGeom>
                    <a:avLst/>
                    <a:gdLst>
                      <a:gd name="T0" fmla="*/ 27 w 31"/>
                      <a:gd name="T1" fmla="*/ 12 h 30"/>
                      <a:gd name="T2" fmla="*/ 26 w 31"/>
                      <a:gd name="T3" fmla="*/ 8 h 30"/>
                      <a:gd name="T4" fmla="*/ 19 w 31"/>
                      <a:gd name="T5" fmla="*/ 8 h 30"/>
                      <a:gd name="T6" fmla="*/ 8 w 31"/>
                      <a:gd name="T7" fmla="*/ 16 h 30"/>
                      <a:gd name="T8" fmla="*/ 5 w 31"/>
                      <a:gd name="T9" fmla="*/ 23 h 30"/>
                      <a:gd name="T10" fmla="*/ 8 w 31"/>
                      <a:gd name="T11" fmla="*/ 25 h 30"/>
                      <a:gd name="T12" fmla="*/ 7 w 31"/>
                      <a:gd name="T13" fmla="*/ 30 h 30"/>
                      <a:gd name="T14" fmla="*/ 0 w 31"/>
                      <a:gd name="T15" fmla="*/ 25 h 30"/>
                      <a:gd name="T16" fmla="*/ 1 w 31"/>
                      <a:gd name="T17" fmla="*/ 15 h 30"/>
                      <a:gd name="T18" fmla="*/ 6 w 31"/>
                      <a:gd name="T19" fmla="*/ 9 h 30"/>
                      <a:gd name="T20" fmla="*/ 16 w 31"/>
                      <a:gd name="T21" fmla="*/ 2 h 30"/>
                      <a:gd name="T22" fmla="*/ 22 w 31"/>
                      <a:gd name="T23" fmla="*/ 0 h 30"/>
                      <a:gd name="T24" fmla="*/ 30 w 31"/>
                      <a:gd name="T25" fmla="*/ 5 h 30"/>
                      <a:gd name="T26" fmla="*/ 31 w 31"/>
                      <a:gd name="T27" fmla="*/ 12 h 30"/>
                      <a:gd name="T28" fmla="*/ 27 w 31"/>
                      <a:gd name="T29" fmla="*/ 12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1" h="30">
                        <a:moveTo>
                          <a:pt x="27" y="12"/>
                        </a:moveTo>
                        <a:lnTo>
                          <a:pt x="26" y="8"/>
                        </a:lnTo>
                        <a:lnTo>
                          <a:pt x="19" y="8"/>
                        </a:lnTo>
                        <a:lnTo>
                          <a:pt x="8" y="16"/>
                        </a:lnTo>
                        <a:lnTo>
                          <a:pt x="5" y="23"/>
                        </a:lnTo>
                        <a:lnTo>
                          <a:pt x="8" y="25"/>
                        </a:lnTo>
                        <a:lnTo>
                          <a:pt x="7" y="30"/>
                        </a:lnTo>
                        <a:lnTo>
                          <a:pt x="0" y="25"/>
                        </a:lnTo>
                        <a:lnTo>
                          <a:pt x="1" y="15"/>
                        </a:lnTo>
                        <a:lnTo>
                          <a:pt x="6" y="9"/>
                        </a:lnTo>
                        <a:lnTo>
                          <a:pt x="16" y="2"/>
                        </a:lnTo>
                        <a:lnTo>
                          <a:pt x="22" y="0"/>
                        </a:lnTo>
                        <a:lnTo>
                          <a:pt x="30" y="5"/>
                        </a:lnTo>
                        <a:lnTo>
                          <a:pt x="31" y="12"/>
                        </a:lnTo>
                        <a:lnTo>
                          <a:pt x="27" y="12"/>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sp>
                <p:nvSpPr>
                  <p:cNvPr id="233" name="Freeform 331">
                    <a:extLst>
                      <a:ext uri="{FF2B5EF4-FFF2-40B4-BE49-F238E27FC236}">
                        <a16:creationId xmlns:a16="http://schemas.microsoft.com/office/drawing/2014/main" id="{4E43EC6B-37D9-4BAA-8565-6A58DF649BD7}"/>
                      </a:ext>
                    </a:extLst>
                  </p:cNvPr>
                  <p:cNvSpPr>
                    <a:spLocks/>
                  </p:cNvSpPr>
                  <p:nvPr/>
                </p:nvSpPr>
                <p:spPr bwMode="auto">
                  <a:xfrm rot="5400000">
                    <a:off x="4549519" y="1089500"/>
                    <a:ext cx="162489" cy="119796"/>
                  </a:xfrm>
                  <a:custGeom>
                    <a:avLst/>
                    <a:gdLst>
                      <a:gd name="T0" fmla="*/ 8 w 11"/>
                      <a:gd name="T1" fmla="*/ 8 h 9"/>
                      <a:gd name="T2" fmla="*/ 7 w 11"/>
                      <a:gd name="T3" fmla="*/ 8 h 9"/>
                      <a:gd name="T4" fmla="*/ 5 w 11"/>
                      <a:gd name="T5" fmla="*/ 9 h 9"/>
                      <a:gd name="T6" fmla="*/ 4 w 11"/>
                      <a:gd name="T7" fmla="*/ 9 h 9"/>
                      <a:gd name="T8" fmla="*/ 3 w 11"/>
                      <a:gd name="T9" fmla="*/ 9 h 9"/>
                      <a:gd name="T10" fmla="*/ 2 w 11"/>
                      <a:gd name="T11" fmla="*/ 9 h 9"/>
                      <a:gd name="T12" fmla="*/ 1 w 11"/>
                      <a:gd name="T13" fmla="*/ 8 h 9"/>
                      <a:gd name="T14" fmla="*/ 0 w 11"/>
                      <a:gd name="T15" fmla="*/ 7 h 9"/>
                      <a:gd name="T16" fmla="*/ 0 w 11"/>
                      <a:gd name="T17" fmla="*/ 5 h 9"/>
                      <a:gd name="T18" fmla="*/ 1 w 11"/>
                      <a:gd name="T19" fmla="*/ 4 h 9"/>
                      <a:gd name="T20" fmla="*/ 1 w 11"/>
                      <a:gd name="T21" fmla="*/ 3 h 9"/>
                      <a:gd name="T22" fmla="*/ 3 w 11"/>
                      <a:gd name="T23" fmla="*/ 2 h 9"/>
                      <a:gd name="T24" fmla="*/ 4 w 11"/>
                      <a:gd name="T25" fmla="*/ 1 h 9"/>
                      <a:gd name="T26" fmla="*/ 5 w 11"/>
                      <a:gd name="T27" fmla="*/ 0 h 9"/>
                      <a:gd name="T28" fmla="*/ 7 w 11"/>
                      <a:gd name="T29" fmla="*/ 0 h 9"/>
                      <a:gd name="T30" fmla="*/ 8 w 11"/>
                      <a:gd name="T31" fmla="*/ 0 h 9"/>
                      <a:gd name="T32" fmla="*/ 9 w 11"/>
                      <a:gd name="T33" fmla="*/ 0 h 9"/>
                      <a:gd name="T34" fmla="*/ 10 w 11"/>
                      <a:gd name="T35" fmla="*/ 1 h 9"/>
                      <a:gd name="T36" fmla="*/ 11 w 11"/>
                      <a:gd name="T37" fmla="*/ 2 h 9"/>
                      <a:gd name="T38" fmla="*/ 11 w 11"/>
                      <a:gd name="T39" fmla="*/ 4 h 9"/>
                      <a:gd name="T40" fmla="*/ 10 w 11"/>
                      <a:gd name="T41" fmla="*/ 5 h 9"/>
                      <a:gd name="T42" fmla="*/ 9 w 11"/>
                      <a:gd name="T43" fmla="*/ 7 h 9"/>
                      <a:gd name="T44" fmla="*/ 8 w 11"/>
                      <a:gd name="T45" fmla="*/ 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 h="9">
                        <a:moveTo>
                          <a:pt x="8" y="8"/>
                        </a:moveTo>
                        <a:lnTo>
                          <a:pt x="7" y="8"/>
                        </a:lnTo>
                        <a:lnTo>
                          <a:pt x="5" y="9"/>
                        </a:lnTo>
                        <a:lnTo>
                          <a:pt x="4" y="9"/>
                        </a:lnTo>
                        <a:lnTo>
                          <a:pt x="3" y="9"/>
                        </a:lnTo>
                        <a:lnTo>
                          <a:pt x="2" y="9"/>
                        </a:lnTo>
                        <a:lnTo>
                          <a:pt x="1" y="8"/>
                        </a:lnTo>
                        <a:lnTo>
                          <a:pt x="0" y="7"/>
                        </a:lnTo>
                        <a:lnTo>
                          <a:pt x="0" y="5"/>
                        </a:lnTo>
                        <a:lnTo>
                          <a:pt x="1" y="4"/>
                        </a:lnTo>
                        <a:lnTo>
                          <a:pt x="1" y="3"/>
                        </a:lnTo>
                        <a:lnTo>
                          <a:pt x="3" y="2"/>
                        </a:lnTo>
                        <a:lnTo>
                          <a:pt x="4" y="1"/>
                        </a:lnTo>
                        <a:lnTo>
                          <a:pt x="5" y="0"/>
                        </a:lnTo>
                        <a:lnTo>
                          <a:pt x="7" y="0"/>
                        </a:lnTo>
                        <a:lnTo>
                          <a:pt x="8" y="0"/>
                        </a:lnTo>
                        <a:lnTo>
                          <a:pt x="9" y="0"/>
                        </a:lnTo>
                        <a:lnTo>
                          <a:pt x="10" y="1"/>
                        </a:lnTo>
                        <a:lnTo>
                          <a:pt x="11" y="2"/>
                        </a:lnTo>
                        <a:lnTo>
                          <a:pt x="11" y="4"/>
                        </a:lnTo>
                        <a:lnTo>
                          <a:pt x="10" y="5"/>
                        </a:lnTo>
                        <a:lnTo>
                          <a:pt x="9" y="7"/>
                        </a:lnTo>
                        <a:lnTo>
                          <a:pt x="8" y="8"/>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grpSp>
            <p:grpSp>
              <p:nvGrpSpPr>
                <p:cNvPr id="162" name="Groupe 60">
                  <a:extLst>
                    <a:ext uri="{FF2B5EF4-FFF2-40B4-BE49-F238E27FC236}">
                      <a16:creationId xmlns:a16="http://schemas.microsoft.com/office/drawing/2014/main" id="{478A4EB5-FD4B-4ACF-A24F-8FDAD212304E}"/>
                    </a:ext>
                  </a:extLst>
                </p:cNvPr>
                <p:cNvGrpSpPr>
                  <a:grpSpLocks/>
                </p:cNvGrpSpPr>
                <p:nvPr/>
              </p:nvGrpSpPr>
              <p:grpSpPr bwMode="auto">
                <a:xfrm rot="-573653">
                  <a:off x="5283200" y="2532063"/>
                  <a:ext cx="152400" cy="171450"/>
                  <a:chOff x="4339966" y="1005332"/>
                  <a:chExt cx="417989" cy="405152"/>
                </a:xfrm>
              </p:grpSpPr>
              <p:sp>
                <p:nvSpPr>
                  <p:cNvPr id="230" name="Freeform 328">
                    <a:extLst>
                      <a:ext uri="{FF2B5EF4-FFF2-40B4-BE49-F238E27FC236}">
                        <a16:creationId xmlns:a16="http://schemas.microsoft.com/office/drawing/2014/main" id="{2878F41C-F242-423D-800C-5F696E86B0B3}"/>
                      </a:ext>
                    </a:extLst>
                  </p:cNvPr>
                  <p:cNvSpPr>
                    <a:spLocks/>
                  </p:cNvSpPr>
                  <p:nvPr/>
                </p:nvSpPr>
                <p:spPr bwMode="auto">
                  <a:xfrm rot="5400000">
                    <a:off x="4346385" y="998913"/>
                    <a:ext cx="405152" cy="417989"/>
                  </a:xfrm>
                  <a:custGeom>
                    <a:avLst/>
                    <a:gdLst>
                      <a:gd name="T0" fmla="*/ 27 w 31"/>
                      <a:gd name="T1" fmla="*/ 12 h 30"/>
                      <a:gd name="T2" fmla="*/ 26 w 31"/>
                      <a:gd name="T3" fmla="*/ 8 h 30"/>
                      <a:gd name="T4" fmla="*/ 19 w 31"/>
                      <a:gd name="T5" fmla="*/ 8 h 30"/>
                      <a:gd name="T6" fmla="*/ 8 w 31"/>
                      <a:gd name="T7" fmla="*/ 16 h 30"/>
                      <a:gd name="T8" fmla="*/ 5 w 31"/>
                      <a:gd name="T9" fmla="*/ 23 h 30"/>
                      <a:gd name="T10" fmla="*/ 8 w 31"/>
                      <a:gd name="T11" fmla="*/ 25 h 30"/>
                      <a:gd name="T12" fmla="*/ 7 w 31"/>
                      <a:gd name="T13" fmla="*/ 30 h 30"/>
                      <a:gd name="T14" fmla="*/ 0 w 31"/>
                      <a:gd name="T15" fmla="*/ 25 h 30"/>
                      <a:gd name="T16" fmla="*/ 1 w 31"/>
                      <a:gd name="T17" fmla="*/ 15 h 30"/>
                      <a:gd name="T18" fmla="*/ 6 w 31"/>
                      <a:gd name="T19" fmla="*/ 9 h 30"/>
                      <a:gd name="T20" fmla="*/ 16 w 31"/>
                      <a:gd name="T21" fmla="*/ 2 h 30"/>
                      <a:gd name="T22" fmla="*/ 22 w 31"/>
                      <a:gd name="T23" fmla="*/ 0 h 30"/>
                      <a:gd name="T24" fmla="*/ 30 w 31"/>
                      <a:gd name="T25" fmla="*/ 5 h 30"/>
                      <a:gd name="T26" fmla="*/ 31 w 31"/>
                      <a:gd name="T27" fmla="*/ 12 h 30"/>
                      <a:gd name="T28" fmla="*/ 27 w 31"/>
                      <a:gd name="T29" fmla="*/ 12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1" h="30">
                        <a:moveTo>
                          <a:pt x="27" y="12"/>
                        </a:moveTo>
                        <a:lnTo>
                          <a:pt x="26" y="8"/>
                        </a:lnTo>
                        <a:lnTo>
                          <a:pt x="19" y="8"/>
                        </a:lnTo>
                        <a:lnTo>
                          <a:pt x="8" y="16"/>
                        </a:lnTo>
                        <a:lnTo>
                          <a:pt x="5" y="23"/>
                        </a:lnTo>
                        <a:lnTo>
                          <a:pt x="8" y="25"/>
                        </a:lnTo>
                        <a:lnTo>
                          <a:pt x="7" y="30"/>
                        </a:lnTo>
                        <a:lnTo>
                          <a:pt x="0" y="25"/>
                        </a:lnTo>
                        <a:lnTo>
                          <a:pt x="1" y="15"/>
                        </a:lnTo>
                        <a:lnTo>
                          <a:pt x="6" y="9"/>
                        </a:lnTo>
                        <a:lnTo>
                          <a:pt x="16" y="2"/>
                        </a:lnTo>
                        <a:lnTo>
                          <a:pt x="22" y="0"/>
                        </a:lnTo>
                        <a:lnTo>
                          <a:pt x="30" y="5"/>
                        </a:lnTo>
                        <a:lnTo>
                          <a:pt x="31" y="12"/>
                        </a:lnTo>
                        <a:lnTo>
                          <a:pt x="27" y="12"/>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sp>
                <p:nvSpPr>
                  <p:cNvPr id="231" name="Freeform 331">
                    <a:extLst>
                      <a:ext uri="{FF2B5EF4-FFF2-40B4-BE49-F238E27FC236}">
                        <a16:creationId xmlns:a16="http://schemas.microsoft.com/office/drawing/2014/main" id="{14C594B4-8158-4BFF-B7C9-21064780F0E3}"/>
                      </a:ext>
                    </a:extLst>
                  </p:cNvPr>
                  <p:cNvSpPr>
                    <a:spLocks/>
                  </p:cNvSpPr>
                  <p:nvPr/>
                </p:nvSpPr>
                <p:spPr bwMode="auto">
                  <a:xfrm rot="5400000">
                    <a:off x="4549519" y="1089500"/>
                    <a:ext cx="162489" cy="119796"/>
                  </a:xfrm>
                  <a:custGeom>
                    <a:avLst/>
                    <a:gdLst>
                      <a:gd name="T0" fmla="*/ 8 w 11"/>
                      <a:gd name="T1" fmla="*/ 8 h 9"/>
                      <a:gd name="T2" fmla="*/ 7 w 11"/>
                      <a:gd name="T3" fmla="*/ 8 h 9"/>
                      <a:gd name="T4" fmla="*/ 5 w 11"/>
                      <a:gd name="T5" fmla="*/ 9 h 9"/>
                      <a:gd name="T6" fmla="*/ 4 w 11"/>
                      <a:gd name="T7" fmla="*/ 9 h 9"/>
                      <a:gd name="T8" fmla="*/ 3 w 11"/>
                      <a:gd name="T9" fmla="*/ 9 h 9"/>
                      <a:gd name="T10" fmla="*/ 2 w 11"/>
                      <a:gd name="T11" fmla="*/ 9 h 9"/>
                      <a:gd name="T12" fmla="*/ 1 w 11"/>
                      <a:gd name="T13" fmla="*/ 8 h 9"/>
                      <a:gd name="T14" fmla="*/ 0 w 11"/>
                      <a:gd name="T15" fmla="*/ 7 h 9"/>
                      <a:gd name="T16" fmla="*/ 0 w 11"/>
                      <a:gd name="T17" fmla="*/ 5 h 9"/>
                      <a:gd name="T18" fmla="*/ 1 w 11"/>
                      <a:gd name="T19" fmla="*/ 4 h 9"/>
                      <a:gd name="T20" fmla="*/ 1 w 11"/>
                      <a:gd name="T21" fmla="*/ 3 h 9"/>
                      <a:gd name="T22" fmla="*/ 3 w 11"/>
                      <a:gd name="T23" fmla="*/ 2 h 9"/>
                      <a:gd name="T24" fmla="*/ 4 w 11"/>
                      <a:gd name="T25" fmla="*/ 1 h 9"/>
                      <a:gd name="T26" fmla="*/ 5 w 11"/>
                      <a:gd name="T27" fmla="*/ 0 h 9"/>
                      <a:gd name="T28" fmla="*/ 7 w 11"/>
                      <a:gd name="T29" fmla="*/ 0 h 9"/>
                      <a:gd name="T30" fmla="*/ 8 w 11"/>
                      <a:gd name="T31" fmla="*/ 0 h 9"/>
                      <a:gd name="T32" fmla="*/ 9 w 11"/>
                      <a:gd name="T33" fmla="*/ 0 h 9"/>
                      <a:gd name="T34" fmla="*/ 10 w 11"/>
                      <a:gd name="T35" fmla="*/ 1 h 9"/>
                      <a:gd name="T36" fmla="*/ 11 w 11"/>
                      <a:gd name="T37" fmla="*/ 2 h 9"/>
                      <a:gd name="T38" fmla="*/ 11 w 11"/>
                      <a:gd name="T39" fmla="*/ 4 h 9"/>
                      <a:gd name="T40" fmla="*/ 10 w 11"/>
                      <a:gd name="T41" fmla="*/ 5 h 9"/>
                      <a:gd name="T42" fmla="*/ 9 w 11"/>
                      <a:gd name="T43" fmla="*/ 7 h 9"/>
                      <a:gd name="T44" fmla="*/ 8 w 11"/>
                      <a:gd name="T45" fmla="*/ 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 h="9">
                        <a:moveTo>
                          <a:pt x="8" y="8"/>
                        </a:moveTo>
                        <a:lnTo>
                          <a:pt x="7" y="8"/>
                        </a:lnTo>
                        <a:lnTo>
                          <a:pt x="5" y="9"/>
                        </a:lnTo>
                        <a:lnTo>
                          <a:pt x="4" y="9"/>
                        </a:lnTo>
                        <a:lnTo>
                          <a:pt x="3" y="9"/>
                        </a:lnTo>
                        <a:lnTo>
                          <a:pt x="2" y="9"/>
                        </a:lnTo>
                        <a:lnTo>
                          <a:pt x="1" y="8"/>
                        </a:lnTo>
                        <a:lnTo>
                          <a:pt x="0" y="7"/>
                        </a:lnTo>
                        <a:lnTo>
                          <a:pt x="0" y="5"/>
                        </a:lnTo>
                        <a:lnTo>
                          <a:pt x="1" y="4"/>
                        </a:lnTo>
                        <a:lnTo>
                          <a:pt x="1" y="3"/>
                        </a:lnTo>
                        <a:lnTo>
                          <a:pt x="3" y="2"/>
                        </a:lnTo>
                        <a:lnTo>
                          <a:pt x="4" y="1"/>
                        </a:lnTo>
                        <a:lnTo>
                          <a:pt x="5" y="0"/>
                        </a:lnTo>
                        <a:lnTo>
                          <a:pt x="7" y="0"/>
                        </a:lnTo>
                        <a:lnTo>
                          <a:pt x="8" y="0"/>
                        </a:lnTo>
                        <a:lnTo>
                          <a:pt x="9" y="0"/>
                        </a:lnTo>
                        <a:lnTo>
                          <a:pt x="10" y="1"/>
                        </a:lnTo>
                        <a:lnTo>
                          <a:pt x="11" y="2"/>
                        </a:lnTo>
                        <a:lnTo>
                          <a:pt x="11" y="4"/>
                        </a:lnTo>
                        <a:lnTo>
                          <a:pt x="10" y="5"/>
                        </a:lnTo>
                        <a:lnTo>
                          <a:pt x="9" y="7"/>
                        </a:lnTo>
                        <a:lnTo>
                          <a:pt x="8" y="8"/>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grpSp>
            <p:grpSp>
              <p:nvGrpSpPr>
                <p:cNvPr id="163" name="Groupe 63">
                  <a:extLst>
                    <a:ext uri="{FF2B5EF4-FFF2-40B4-BE49-F238E27FC236}">
                      <a16:creationId xmlns:a16="http://schemas.microsoft.com/office/drawing/2014/main" id="{AEC6AF8B-11A0-4E63-8B23-5975B88C32B2}"/>
                    </a:ext>
                  </a:extLst>
                </p:cNvPr>
                <p:cNvGrpSpPr>
                  <a:grpSpLocks/>
                </p:cNvGrpSpPr>
                <p:nvPr/>
              </p:nvGrpSpPr>
              <p:grpSpPr bwMode="auto">
                <a:xfrm rot="5972653">
                  <a:off x="5234782" y="2955131"/>
                  <a:ext cx="171450" cy="153987"/>
                  <a:chOff x="4339966" y="1005332"/>
                  <a:chExt cx="417989" cy="405152"/>
                </a:xfrm>
              </p:grpSpPr>
              <p:sp>
                <p:nvSpPr>
                  <p:cNvPr id="228" name="Freeform 328">
                    <a:extLst>
                      <a:ext uri="{FF2B5EF4-FFF2-40B4-BE49-F238E27FC236}">
                        <a16:creationId xmlns:a16="http://schemas.microsoft.com/office/drawing/2014/main" id="{511A19A7-D59F-4205-B509-BAC84170487D}"/>
                      </a:ext>
                    </a:extLst>
                  </p:cNvPr>
                  <p:cNvSpPr>
                    <a:spLocks/>
                  </p:cNvSpPr>
                  <p:nvPr/>
                </p:nvSpPr>
                <p:spPr bwMode="auto">
                  <a:xfrm rot="5400000">
                    <a:off x="4346385" y="998913"/>
                    <a:ext cx="405152" cy="417989"/>
                  </a:xfrm>
                  <a:custGeom>
                    <a:avLst/>
                    <a:gdLst>
                      <a:gd name="T0" fmla="*/ 27 w 31"/>
                      <a:gd name="T1" fmla="*/ 12 h 30"/>
                      <a:gd name="T2" fmla="*/ 26 w 31"/>
                      <a:gd name="T3" fmla="*/ 8 h 30"/>
                      <a:gd name="T4" fmla="*/ 19 w 31"/>
                      <a:gd name="T5" fmla="*/ 8 h 30"/>
                      <a:gd name="T6" fmla="*/ 8 w 31"/>
                      <a:gd name="T7" fmla="*/ 16 h 30"/>
                      <a:gd name="T8" fmla="*/ 5 w 31"/>
                      <a:gd name="T9" fmla="*/ 23 h 30"/>
                      <a:gd name="T10" fmla="*/ 8 w 31"/>
                      <a:gd name="T11" fmla="*/ 25 h 30"/>
                      <a:gd name="T12" fmla="*/ 7 w 31"/>
                      <a:gd name="T13" fmla="*/ 30 h 30"/>
                      <a:gd name="T14" fmla="*/ 0 w 31"/>
                      <a:gd name="T15" fmla="*/ 25 h 30"/>
                      <a:gd name="T16" fmla="*/ 1 w 31"/>
                      <a:gd name="T17" fmla="*/ 15 h 30"/>
                      <a:gd name="T18" fmla="*/ 6 w 31"/>
                      <a:gd name="T19" fmla="*/ 9 h 30"/>
                      <a:gd name="T20" fmla="*/ 16 w 31"/>
                      <a:gd name="T21" fmla="*/ 2 h 30"/>
                      <a:gd name="T22" fmla="*/ 22 w 31"/>
                      <a:gd name="T23" fmla="*/ 0 h 30"/>
                      <a:gd name="T24" fmla="*/ 30 w 31"/>
                      <a:gd name="T25" fmla="*/ 5 h 30"/>
                      <a:gd name="T26" fmla="*/ 31 w 31"/>
                      <a:gd name="T27" fmla="*/ 12 h 30"/>
                      <a:gd name="T28" fmla="*/ 27 w 31"/>
                      <a:gd name="T29" fmla="*/ 12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1" h="30">
                        <a:moveTo>
                          <a:pt x="27" y="12"/>
                        </a:moveTo>
                        <a:lnTo>
                          <a:pt x="26" y="8"/>
                        </a:lnTo>
                        <a:lnTo>
                          <a:pt x="19" y="8"/>
                        </a:lnTo>
                        <a:lnTo>
                          <a:pt x="8" y="16"/>
                        </a:lnTo>
                        <a:lnTo>
                          <a:pt x="5" y="23"/>
                        </a:lnTo>
                        <a:lnTo>
                          <a:pt x="8" y="25"/>
                        </a:lnTo>
                        <a:lnTo>
                          <a:pt x="7" y="30"/>
                        </a:lnTo>
                        <a:lnTo>
                          <a:pt x="0" y="25"/>
                        </a:lnTo>
                        <a:lnTo>
                          <a:pt x="1" y="15"/>
                        </a:lnTo>
                        <a:lnTo>
                          <a:pt x="6" y="9"/>
                        </a:lnTo>
                        <a:lnTo>
                          <a:pt x="16" y="2"/>
                        </a:lnTo>
                        <a:lnTo>
                          <a:pt x="22" y="0"/>
                        </a:lnTo>
                        <a:lnTo>
                          <a:pt x="30" y="5"/>
                        </a:lnTo>
                        <a:lnTo>
                          <a:pt x="31" y="12"/>
                        </a:lnTo>
                        <a:lnTo>
                          <a:pt x="27" y="12"/>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sp>
                <p:nvSpPr>
                  <p:cNvPr id="229" name="Freeform 331">
                    <a:extLst>
                      <a:ext uri="{FF2B5EF4-FFF2-40B4-BE49-F238E27FC236}">
                        <a16:creationId xmlns:a16="http://schemas.microsoft.com/office/drawing/2014/main" id="{6A1B9FEB-C608-4043-9375-846486DBCCC8}"/>
                      </a:ext>
                    </a:extLst>
                  </p:cNvPr>
                  <p:cNvSpPr>
                    <a:spLocks/>
                  </p:cNvSpPr>
                  <p:nvPr/>
                </p:nvSpPr>
                <p:spPr bwMode="auto">
                  <a:xfrm rot="5400000">
                    <a:off x="4549519" y="1089500"/>
                    <a:ext cx="162489" cy="119796"/>
                  </a:xfrm>
                  <a:custGeom>
                    <a:avLst/>
                    <a:gdLst>
                      <a:gd name="T0" fmla="*/ 8 w 11"/>
                      <a:gd name="T1" fmla="*/ 8 h 9"/>
                      <a:gd name="T2" fmla="*/ 7 w 11"/>
                      <a:gd name="T3" fmla="*/ 8 h 9"/>
                      <a:gd name="T4" fmla="*/ 5 w 11"/>
                      <a:gd name="T5" fmla="*/ 9 h 9"/>
                      <a:gd name="T6" fmla="*/ 4 w 11"/>
                      <a:gd name="T7" fmla="*/ 9 h 9"/>
                      <a:gd name="T8" fmla="*/ 3 w 11"/>
                      <a:gd name="T9" fmla="*/ 9 h 9"/>
                      <a:gd name="T10" fmla="*/ 2 w 11"/>
                      <a:gd name="T11" fmla="*/ 9 h 9"/>
                      <a:gd name="T12" fmla="*/ 1 w 11"/>
                      <a:gd name="T13" fmla="*/ 8 h 9"/>
                      <a:gd name="T14" fmla="*/ 0 w 11"/>
                      <a:gd name="T15" fmla="*/ 7 h 9"/>
                      <a:gd name="T16" fmla="*/ 0 w 11"/>
                      <a:gd name="T17" fmla="*/ 5 h 9"/>
                      <a:gd name="T18" fmla="*/ 1 w 11"/>
                      <a:gd name="T19" fmla="*/ 4 h 9"/>
                      <a:gd name="T20" fmla="*/ 1 w 11"/>
                      <a:gd name="T21" fmla="*/ 3 h 9"/>
                      <a:gd name="T22" fmla="*/ 3 w 11"/>
                      <a:gd name="T23" fmla="*/ 2 h 9"/>
                      <a:gd name="T24" fmla="*/ 4 w 11"/>
                      <a:gd name="T25" fmla="*/ 1 h 9"/>
                      <a:gd name="T26" fmla="*/ 5 w 11"/>
                      <a:gd name="T27" fmla="*/ 0 h 9"/>
                      <a:gd name="T28" fmla="*/ 7 w 11"/>
                      <a:gd name="T29" fmla="*/ 0 h 9"/>
                      <a:gd name="T30" fmla="*/ 8 w 11"/>
                      <a:gd name="T31" fmla="*/ 0 h 9"/>
                      <a:gd name="T32" fmla="*/ 9 w 11"/>
                      <a:gd name="T33" fmla="*/ 0 h 9"/>
                      <a:gd name="T34" fmla="*/ 10 w 11"/>
                      <a:gd name="T35" fmla="*/ 1 h 9"/>
                      <a:gd name="T36" fmla="*/ 11 w 11"/>
                      <a:gd name="T37" fmla="*/ 2 h 9"/>
                      <a:gd name="T38" fmla="*/ 11 w 11"/>
                      <a:gd name="T39" fmla="*/ 4 h 9"/>
                      <a:gd name="T40" fmla="*/ 10 w 11"/>
                      <a:gd name="T41" fmla="*/ 5 h 9"/>
                      <a:gd name="T42" fmla="*/ 9 w 11"/>
                      <a:gd name="T43" fmla="*/ 7 h 9"/>
                      <a:gd name="T44" fmla="*/ 8 w 11"/>
                      <a:gd name="T45" fmla="*/ 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 h="9">
                        <a:moveTo>
                          <a:pt x="8" y="8"/>
                        </a:moveTo>
                        <a:lnTo>
                          <a:pt x="7" y="8"/>
                        </a:lnTo>
                        <a:lnTo>
                          <a:pt x="5" y="9"/>
                        </a:lnTo>
                        <a:lnTo>
                          <a:pt x="4" y="9"/>
                        </a:lnTo>
                        <a:lnTo>
                          <a:pt x="3" y="9"/>
                        </a:lnTo>
                        <a:lnTo>
                          <a:pt x="2" y="9"/>
                        </a:lnTo>
                        <a:lnTo>
                          <a:pt x="1" y="8"/>
                        </a:lnTo>
                        <a:lnTo>
                          <a:pt x="0" y="7"/>
                        </a:lnTo>
                        <a:lnTo>
                          <a:pt x="0" y="5"/>
                        </a:lnTo>
                        <a:lnTo>
                          <a:pt x="1" y="4"/>
                        </a:lnTo>
                        <a:lnTo>
                          <a:pt x="1" y="3"/>
                        </a:lnTo>
                        <a:lnTo>
                          <a:pt x="3" y="2"/>
                        </a:lnTo>
                        <a:lnTo>
                          <a:pt x="4" y="1"/>
                        </a:lnTo>
                        <a:lnTo>
                          <a:pt x="5" y="0"/>
                        </a:lnTo>
                        <a:lnTo>
                          <a:pt x="7" y="0"/>
                        </a:lnTo>
                        <a:lnTo>
                          <a:pt x="8" y="0"/>
                        </a:lnTo>
                        <a:lnTo>
                          <a:pt x="9" y="0"/>
                        </a:lnTo>
                        <a:lnTo>
                          <a:pt x="10" y="1"/>
                        </a:lnTo>
                        <a:lnTo>
                          <a:pt x="11" y="2"/>
                        </a:lnTo>
                        <a:lnTo>
                          <a:pt x="11" y="4"/>
                        </a:lnTo>
                        <a:lnTo>
                          <a:pt x="10" y="5"/>
                        </a:lnTo>
                        <a:lnTo>
                          <a:pt x="9" y="7"/>
                        </a:lnTo>
                        <a:lnTo>
                          <a:pt x="8" y="8"/>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grpSp>
            <p:grpSp>
              <p:nvGrpSpPr>
                <p:cNvPr id="164" name="Groupe 66">
                  <a:extLst>
                    <a:ext uri="{FF2B5EF4-FFF2-40B4-BE49-F238E27FC236}">
                      <a16:creationId xmlns:a16="http://schemas.microsoft.com/office/drawing/2014/main" id="{154BBA72-F5E2-4BF2-8ADD-2E4D436AF62D}"/>
                    </a:ext>
                  </a:extLst>
                </p:cNvPr>
                <p:cNvGrpSpPr>
                  <a:grpSpLocks/>
                </p:cNvGrpSpPr>
                <p:nvPr/>
              </p:nvGrpSpPr>
              <p:grpSpPr bwMode="auto">
                <a:xfrm rot="-10358823">
                  <a:off x="4449763" y="2941638"/>
                  <a:ext cx="152400" cy="171450"/>
                  <a:chOff x="4339966" y="1005332"/>
                  <a:chExt cx="417989" cy="405152"/>
                </a:xfrm>
              </p:grpSpPr>
              <p:sp>
                <p:nvSpPr>
                  <p:cNvPr id="226" name="Freeform 328">
                    <a:extLst>
                      <a:ext uri="{FF2B5EF4-FFF2-40B4-BE49-F238E27FC236}">
                        <a16:creationId xmlns:a16="http://schemas.microsoft.com/office/drawing/2014/main" id="{6683465F-1387-406B-8419-5C82ED4A8BA9}"/>
                      </a:ext>
                    </a:extLst>
                  </p:cNvPr>
                  <p:cNvSpPr>
                    <a:spLocks/>
                  </p:cNvSpPr>
                  <p:nvPr/>
                </p:nvSpPr>
                <p:spPr bwMode="auto">
                  <a:xfrm rot="5400000">
                    <a:off x="4346385" y="998913"/>
                    <a:ext cx="405152" cy="417989"/>
                  </a:xfrm>
                  <a:custGeom>
                    <a:avLst/>
                    <a:gdLst>
                      <a:gd name="T0" fmla="*/ 27 w 31"/>
                      <a:gd name="T1" fmla="*/ 12 h 30"/>
                      <a:gd name="T2" fmla="*/ 26 w 31"/>
                      <a:gd name="T3" fmla="*/ 8 h 30"/>
                      <a:gd name="T4" fmla="*/ 19 w 31"/>
                      <a:gd name="T5" fmla="*/ 8 h 30"/>
                      <a:gd name="T6" fmla="*/ 8 w 31"/>
                      <a:gd name="T7" fmla="*/ 16 h 30"/>
                      <a:gd name="T8" fmla="*/ 5 w 31"/>
                      <a:gd name="T9" fmla="*/ 23 h 30"/>
                      <a:gd name="T10" fmla="*/ 8 w 31"/>
                      <a:gd name="T11" fmla="*/ 25 h 30"/>
                      <a:gd name="T12" fmla="*/ 7 w 31"/>
                      <a:gd name="T13" fmla="*/ 30 h 30"/>
                      <a:gd name="T14" fmla="*/ 0 w 31"/>
                      <a:gd name="T15" fmla="*/ 25 h 30"/>
                      <a:gd name="T16" fmla="*/ 1 w 31"/>
                      <a:gd name="T17" fmla="*/ 15 h 30"/>
                      <a:gd name="T18" fmla="*/ 6 w 31"/>
                      <a:gd name="T19" fmla="*/ 9 h 30"/>
                      <a:gd name="T20" fmla="*/ 16 w 31"/>
                      <a:gd name="T21" fmla="*/ 2 h 30"/>
                      <a:gd name="T22" fmla="*/ 22 w 31"/>
                      <a:gd name="T23" fmla="*/ 0 h 30"/>
                      <a:gd name="T24" fmla="*/ 30 w 31"/>
                      <a:gd name="T25" fmla="*/ 5 h 30"/>
                      <a:gd name="T26" fmla="*/ 31 w 31"/>
                      <a:gd name="T27" fmla="*/ 12 h 30"/>
                      <a:gd name="T28" fmla="*/ 27 w 31"/>
                      <a:gd name="T29" fmla="*/ 12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1" h="30">
                        <a:moveTo>
                          <a:pt x="27" y="12"/>
                        </a:moveTo>
                        <a:lnTo>
                          <a:pt x="26" y="8"/>
                        </a:lnTo>
                        <a:lnTo>
                          <a:pt x="19" y="8"/>
                        </a:lnTo>
                        <a:lnTo>
                          <a:pt x="8" y="16"/>
                        </a:lnTo>
                        <a:lnTo>
                          <a:pt x="5" y="23"/>
                        </a:lnTo>
                        <a:lnTo>
                          <a:pt x="8" y="25"/>
                        </a:lnTo>
                        <a:lnTo>
                          <a:pt x="7" y="30"/>
                        </a:lnTo>
                        <a:lnTo>
                          <a:pt x="0" y="25"/>
                        </a:lnTo>
                        <a:lnTo>
                          <a:pt x="1" y="15"/>
                        </a:lnTo>
                        <a:lnTo>
                          <a:pt x="6" y="9"/>
                        </a:lnTo>
                        <a:lnTo>
                          <a:pt x="16" y="2"/>
                        </a:lnTo>
                        <a:lnTo>
                          <a:pt x="22" y="0"/>
                        </a:lnTo>
                        <a:lnTo>
                          <a:pt x="30" y="5"/>
                        </a:lnTo>
                        <a:lnTo>
                          <a:pt x="31" y="12"/>
                        </a:lnTo>
                        <a:lnTo>
                          <a:pt x="27" y="12"/>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sp>
                <p:nvSpPr>
                  <p:cNvPr id="227" name="Freeform 331">
                    <a:extLst>
                      <a:ext uri="{FF2B5EF4-FFF2-40B4-BE49-F238E27FC236}">
                        <a16:creationId xmlns:a16="http://schemas.microsoft.com/office/drawing/2014/main" id="{1B2D0C1E-CBDD-410F-9F8F-4A215CE09812}"/>
                      </a:ext>
                    </a:extLst>
                  </p:cNvPr>
                  <p:cNvSpPr>
                    <a:spLocks/>
                  </p:cNvSpPr>
                  <p:nvPr/>
                </p:nvSpPr>
                <p:spPr bwMode="auto">
                  <a:xfrm rot="5400000">
                    <a:off x="4549519" y="1089500"/>
                    <a:ext cx="162489" cy="119796"/>
                  </a:xfrm>
                  <a:custGeom>
                    <a:avLst/>
                    <a:gdLst>
                      <a:gd name="T0" fmla="*/ 8 w 11"/>
                      <a:gd name="T1" fmla="*/ 8 h 9"/>
                      <a:gd name="T2" fmla="*/ 7 w 11"/>
                      <a:gd name="T3" fmla="*/ 8 h 9"/>
                      <a:gd name="T4" fmla="*/ 5 w 11"/>
                      <a:gd name="T5" fmla="*/ 9 h 9"/>
                      <a:gd name="T6" fmla="*/ 4 w 11"/>
                      <a:gd name="T7" fmla="*/ 9 h 9"/>
                      <a:gd name="T8" fmla="*/ 3 w 11"/>
                      <a:gd name="T9" fmla="*/ 9 h 9"/>
                      <a:gd name="T10" fmla="*/ 2 w 11"/>
                      <a:gd name="T11" fmla="*/ 9 h 9"/>
                      <a:gd name="T12" fmla="*/ 1 w 11"/>
                      <a:gd name="T13" fmla="*/ 8 h 9"/>
                      <a:gd name="T14" fmla="*/ 0 w 11"/>
                      <a:gd name="T15" fmla="*/ 7 h 9"/>
                      <a:gd name="T16" fmla="*/ 0 w 11"/>
                      <a:gd name="T17" fmla="*/ 5 h 9"/>
                      <a:gd name="T18" fmla="*/ 1 w 11"/>
                      <a:gd name="T19" fmla="*/ 4 h 9"/>
                      <a:gd name="T20" fmla="*/ 1 w 11"/>
                      <a:gd name="T21" fmla="*/ 3 h 9"/>
                      <a:gd name="T22" fmla="*/ 3 w 11"/>
                      <a:gd name="T23" fmla="*/ 2 h 9"/>
                      <a:gd name="T24" fmla="*/ 4 w 11"/>
                      <a:gd name="T25" fmla="*/ 1 h 9"/>
                      <a:gd name="T26" fmla="*/ 5 w 11"/>
                      <a:gd name="T27" fmla="*/ 0 h 9"/>
                      <a:gd name="T28" fmla="*/ 7 w 11"/>
                      <a:gd name="T29" fmla="*/ 0 h 9"/>
                      <a:gd name="T30" fmla="*/ 8 w 11"/>
                      <a:gd name="T31" fmla="*/ 0 h 9"/>
                      <a:gd name="T32" fmla="*/ 9 w 11"/>
                      <a:gd name="T33" fmla="*/ 0 h 9"/>
                      <a:gd name="T34" fmla="*/ 10 w 11"/>
                      <a:gd name="T35" fmla="*/ 1 h 9"/>
                      <a:gd name="T36" fmla="*/ 11 w 11"/>
                      <a:gd name="T37" fmla="*/ 2 h 9"/>
                      <a:gd name="T38" fmla="*/ 11 w 11"/>
                      <a:gd name="T39" fmla="*/ 4 h 9"/>
                      <a:gd name="T40" fmla="*/ 10 w 11"/>
                      <a:gd name="T41" fmla="*/ 5 h 9"/>
                      <a:gd name="T42" fmla="*/ 9 w 11"/>
                      <a:gd name="T43" fmla="*/ 7 h 9"/>
                      <a:gd name="T44" fmla="*/ 8 w 11"/>
                      <a:gd name="T45" fmla="*/ 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 h="9">
                        <a:moveTo>
                          <a:pt x="8" y="8"/>
                        </a:moveTo>
                        <a:lnTo>
                          <a:pt x="7" y="8"/>
                        </a:lnTo>
                        <a:lnTo>
                          <a:pt x="5" y="9"/>
                        </a:lnTo>
                        <a:lnTo>
                          <a:pt x="4" y="9"/>
                        </a:lnTo>
                        <a:lnTo>
                          <a:pt x="3" y="9"/>
                        </a:lnTo>
                        <a:lnTo>
                          <a:pt x="2" y="9"/>
                        </a:lnTo>
                        <a:lnTo>
                          <a:pt x="1" y="8"/>
                        </a:lnTo>
                        <a:lnTo>
                          <a:pt x="0" y="7"/>
                        </a:lnTo>
                        <a:lnTo>
                          <a:pt x="0" y="5"/>
                        </a:lnTo>
                        <a:lnTo>
                          <a:pt x="1" y="4"/>
                        </a:lnTo>
                        <a:lnTo>
                          <a:pt x="1" y="3"/>
                        </a:lnTo>
                        <a:lnTo>
                          <a:pt x="3" y="2"/>
                        </a:lnTo>
                        <a:lnTo>
                          <a:pt x="4" y="1"/>
                        </a:lnTo>
                        <a:lnTo>
                          <a:pt x="5" y="0"/>
                        </a:lnTo>
                        <a:lnTo>
                          <a:pt x="7" y="0"/>
                        </a:lnTo>
                        <a:lnTo>
                          <a:pt x="8" y="0"/>
                        </a:lnTo>
                        <a:lnTo>
                          <a:pt x="9" y="0"/>
                        </a:lnTo>
                        <a:lnTo>
                          <a:pt x="10" y="1"/>
                        </a:lnTo>
                        <a:lnTo>
                          <a:pt x="11" y="2"/>
                        </a:lnTo>
                        <a:lnTo>
                          <a:pt x="11" y="4"/>
                        </a:lnTo>
                        <a:lnTo>
                          <a:pt x="10" y="5"/>
                        </a:lnTo>
                        <a:lnTo>
                          <a:pt x="9" y="7"/>
                        </a:lnTo>
                        <a:lnTo>
                          <a:pt x="8" y="8"/>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grpSp>
            <p:grpSp>
              <p:nvGrpSpPr>
                <p:cNvPr id="165" name="Groupe 69">
                  <a:extLst>
                    <a:ext uri="{FF2B5EF4-FFF2-40B4-BE49-F238E27FC236}">
                      <a16:creationId xmlns:a16="http://schemas.microsoft.com/office/drawing/2014/main" id="{1601F710-7715-405E-995C-910FB78B16CC}"/>
                    </a:ext>
                  </a:extLst>
                </p:cNvPr>
                <p:cNvGrpSpPr>
                  <a:grpSpLocks/>
                </p:cNvGrpSpPr>
                <p:nvPr/>
              </p:nvGrpSpPr>
              <p:grpSpPr bwMode="auto">
                <a:xfrm rot="-5188777">
                  <a:off x="6034088" y="2503488"/>
                  <a:ext cx="171450" cy="152400"/>
                  <a:chOff x="4339966" y="1005332"/>
                  <a:chExt cx="417989" cy="405152"/>
                </a:xfrm>
              </p:grpSpPr>
              <p:sp>
                <p:nvSpPr>
                  <p:cNvPr id="224" name="Freeform 328">
                    <a:extLst>
                      <a:ext uri="{FF2B5EF4-FFF2-40B4-BE49-F238E27FC236}">
                        <a16:creationId xmlns:a16="http://schemas.microsoft.com/office/drawing/2014/main" id="{411BF979-FBC8-470E-AE65-4022B02DA0E4}"/>
                      </a:ext>
                    </a:extLst>
                  </p:cNvPr>
                  <p:cNvSpPr>
                    <a:spLocks/>
                  </p:cNvSpPr>
                  <p:nvPr/>
                </p:nvSpPr>
                <p:spPr bwMode="auto">
                  <a:xfrm rot="5400000">
                    <a:off x="4346385" y="998913"/>
                    <a:ext cx="405152" cy="417989"/>
                  </a:xfrm>
                  <a:custGeom>
                    <a:avLst/>
                    <a:gdLst>
                      <a:gd name="T0" fmla="*/ 27 w 31"/>
                      <a:gd name="T1" fmla="*/ 12 h 30"/>
                      <a:gd name="T2" fmla="*/ 26 w 31"/>
                      <a:gd name="T3" fmla="*/ 8 h 30"/>
                      <a:gd name="T4" fmla="*/ 19 w 31"/>
                      <a:gd name="T5" fmla="*/ 8 h 30"/>
                      <a:gd name="T6" fmla="*/ 8 w 31"/>
                      <a:gd name="T7" fmla="*/ 16 h 30"/>
                      <a:gd name="T8" fmla="*/ 5 w 31"/>
                      <a:gd name="T9" fmla="*/ 23 h 30"/>
                      <a:gd name="T10" fmla="*/ 8 w 31"/>
                      <a:gd name="T11" fmla="*/ 25 h 30"/>
                      <a:gd name="T12" fmla="*/ 7 w 31"/>
                      <a:gd name="T13" fmla="*/ 30 h 30"/>
                      <a:gd name="T14" fmla="*/ 0 w 31"/>
                      <a:gd name="T15" fmla="*/ 25 h 30"/>
                      <a:gd name="T16" fmla="*/ 1 w 31"/>
                      <a:gd name="T17" fmla="*/ 15 h 30"/>
                      <a:gd name="T18" fmla="*/ 6 w 31"/>
                      <a:gd name="T19" fmla="*/ 9 h 30"/>
                      <a:gd name="T20" fmla="*/ 16 w 31"/>
                      <a:gd name="T21" fmla="*/ 2 h 30"/>
                      <a:gd name="T22" fmla="*/ 22 w 31"/>
                      <a:gd name="T23" fmla="*/ 0 h 30"/>
                      <a:gd name="T24" fmla="*/ 30 w 31"/>
                      <a:gd name="T25" fmla="*/ 5 h 30"/>
                      <a:gd name="T26" fmla="*/ 31 w 31"/>
                      <a:gd name="T27" fmla="*/ 12 h 30"/>
                      <a:gd name="T28" fmla="*/ 27 w 31"/>
                      <a:gd name="T29" fmla="*/ 12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1" h="30">
                        <a:moveTo>
                          <a:pt x="27" y="12"/>
                        </a:moveTo>
                        <a:lnTo>
                          <a:pt x="26" y="8"/>
                        </a:lnTo>
                        <a:lnTo>
                          <a:pt x="19" y="8"/>
                        </a:lnTo>
                        <a:lnTo>
                          <a:pt x="8" y="16"/>
                        </a:lnTo>
                        <a:lnTo>
                          <a:pt x="5" y="23"/>
                        </a:lnTo>
                        <a:lnTo>
                          <a:pt x="8" y="25"/>
                        </a:lnTo>
                        <a:lnTo>
                          <a:pt x="7" y="30"/>
                        </a:lnTo>
                        <a:lnTo>
                          <a:pt x="0" y="25"/>
                        </a:lnTo>
                        <a:lnTo>
                          <a:pt x="1" y="15"/>
                        </a:lnTo>
                        <a:lnTo>
                          <a:pt x="6" y="9"/>
                        </a:lnTo>
                        <a:lnTo>
                          <a:pt x="16" y="2"/>
                        </a:lnTo>
                        <a:lnTo>
                          <a:pt x="22" y="0"/>
                        </a:lnTo>
                        <a:lnTo>
                          <a:pt x="30" y="5"/>
                        </a:lnTo>
                        <a:lnTo>
                          <a:pt x="31" y="12"/>
                        </a:lnTo>
                        <a:lnTo>
                          <a:pt x="27" y="12"/>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sp>
                <p:nvSpPr>
                  <p:cNvPr id="225" name="Freeform 331">
                    <a:extLst>
                      <a:ext uri="{FF2B5EF4-FFF2-40B4-BE49-F238E27FC236}">
                        <a16:creationId xmlns:a16="http://schemas.microsoft.com/office/drawing/2014/main" id="{185974A7-9D67-4358-9362-405650EB3533}"/>
                      </a:ext>
                    </a:extLst>
                  </p:cNvPr>
                  <p:cNvSpPr>
                    <a:spLocks/>
                  </p:cNvSpPr>
                  <p:nvPr/>
                </p:nvSpPr>
                <p:spPr bwMode="auto">
                  <a:xfrm rot="5400000">
                    <a:off x="4549519" y="1089500"/>
                    <a:ext cx="162489" cy="119796"/>
                  </a:xfrm>
                  <a:custGeom>
                    <a:avLst/>
                    <a:gdLst>
                      <a:gd name="T0" fmla="*/ 8 w 11"/>
                      <a:gd name="T1" fmla="*/ 8 h 9"/>
                      <a:gd name="T2" fmla="*/ 7 w 11"/>
                      <a:gd name="T3" fmla="*/ 8 h 9"/>
                      <a:gd name="T4" fmla="*/ 5 w 11"/>
                      <a:gd name="T5" fmla="*/ 9 h 9"/>
                      <a:gd name="T6" fmla="*/ 4 w 11"/>
                      <a:gd name="T7" fmla="*/ 9 h 9"/>
                      <a:gd name="T8" fmla="*/ 3 w 11"/>
                      <a:gd name="T9" fmla="*/ 9 h 9"/>
                      <a:gd name="T10" fmla="*/ 2 w 11"/>
                      <a:gd name="T11" fmla="*/ 9 h 9"/>
                      <a:gd name="T12" fmla="*/ 1 w 11"/>
                      <a:gd name="T13" fmla="*/ 8 h 9"/>
                      <a:gd name="T14" fmla="*/ 0 w 11"/>
                      <a:gd name="T15" fmla="*/ 7 h 9"/>
                      <a:gd name="T16" fmla="*/ 0 w 11"/>
                      <a:gd name="T17" fmla="*/ 5 h 9"/>
                      <a:gd name="T18" fmla="*/ 1 w 11"/>
                      <a:gd name="T19" fmla="*/ 4 h 9"/>
                      <a:gd name="T20" fmla="*/ 1 w 11"/>
                      <a:gd name="T21" fmla="*/ 3 h 9"/>
                      <a:gd name="T22" fmla="*/ 3 w 11"/>
                      <a:gd name="T23" fmla="*/ 2 h 9"/>
                      <a:gd name="T24" fmla="*/ 4 w 11"/>
                      <a:gd name="T25" fmla="*/ 1 h 9"/>
                      <a:gd name="T26" fmla="*/ 5 w 11"/>
                      <a:gd name="T27" fmla="*/ 0 h 9"/>
                      <a:gd name="T28" fmla="*/ 7 w 11"/>
                      <a:gd name="T29" fmla="*/ 0 h 9"/>
                      <a:gd name="T30" fmla="*/ 8 w 11"/>
                      <a:gd name="T31" fmla="*/ 0 h 9"/>
                      <a:gd name="T32" fmla="*/ 9 w 11"/>
                      <a:gd name="T33" fmla="*/ 0 h 9"/>
                      <a:gd name="T34" fmla="*/ 10 w 11"/>
                      <a:gd name="T35" fmla="*/ 1 h 9"/>
                      <a:gd name="T36" fmla="*/ 11 w 11"/>
                      <a:gd name="T37" fmla="*/ 2 h 9"/>
                      <a:gd name="T38" fmla="*/ 11 w 11"/>
                      <a:gd name="T39" fmla="*/ 4 h 9"/>
                      <a:gd name="T40" fmla="*/ 10 w 11"/>
                      <a:gd name="T41" fmla="*/ 5 h 9"/>
                      <a:gd name="T42" fmla="*/ 9 w 11"/>
                      <a:gd name="T43" fmla="*/ 7 h 9"/>
                      <a:gd name="T44" fmla="*/ 8 w 11"/>
                      <a:gd name="T45" fmla="*/ 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 h="9">
                        <a:moveTo>
                          <a:pt x="8" y="8"/>
                        </a:moveTo>
                        <a:lnTo>
                          <a:pt x="7" y="8"/>
                        </a:lnTo>
                        <a:lnTo>
                          <a:pt x="5" y="9"/>
                        </a:lnTo>
                        <a:lnTo>
                          <a:pt x="4" y="9"/>
                        </a:lnTo>
                        <a:lnTo>
                          <a:pt x="3" y="9"/>
                        </a:lnTo>
                        <a:lnTo>
                          <a:pt x="2" y="9"/>
                        </a:lnTo>
                        <a:lnTo>
                          <a:pt x="1" y="8"/>
                        </a:lnTo>
                        <a:lnTo>
                          <a:pt x="0" y="7"/>
                        </a:lnTo>
                        <a:lnTo>
                          <a:pt x="0" y="5"/>
                        </a:lnTo>
                        <a:lnTo>
                          <a:pt x="1" y="4"/>
                        </a:lnTo>
                        <a:lnTo>
                          <a:pt x="1" y="3"/>
                        </a:lnTo>
                        <a:lnTo>
                          <a:pt x="3" y="2"/>
                        </a:lnTo>
                        <a:lnTo>
                          <a:pt x="4" y="1"/>
                        </a:lnTo>
                        <a:lnTo>
                          <a:pt x="5" y="0"/>
                        </a:lnTo>
                        <a:lnTo>
                          <a:pt x="7" y="0"/>
                        </a:lnTo>
                        <a:lnTo>
                          <a:pt x="8" y="0"/>
                        </a:lnTo>
                        <a:lnTo>
                          <a:pt x="9" y="0"/>
                        </a:lnTo>
                        <a:lnTo>
                          <a:pt x="10" y="1"/>
                        </a:lnTo>
                        <a:lnTo>
                          <a:pt x="11" y="2"/>
                        </a:lnTo>
                        <a:lnTo>
                          <a:pt x="11" y="4"/>
                        </a:lnTo>
                        <a:lnTo>
                          <a:pt x="10" y="5"/>
                        </a:lnTo>
                        <a:lnTo>
                          <a:pt x="9" y="7"/>
                        </a:lnTo>
                        <a:lnTo>
                          <a:pt x="8" y="8"/>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grpSp>
            <p:grpSp>
              <p:nvGrpSpPr>
                <p:cNvPr id="166" name="Groupe 72">
                  <a:extLst>
                    <a:ext uri="{FF2B5EF4-FFF2-40B4-BE49-F238E27FC236}">
                      <a16:creationId xmlns:a16="http://schemas.microsoft.com/office/drawing/2014/main" id="{1634E45E-2320-4428-A8E4-CF3762735D5E}"/>
                    </a:ext>
                  </a:extLst>
                </p:cNvPr>
                <p:cNvGrpSpPr>
                  <a:grpSpLocks/>
                </p:cNvGrpSpPr>
                <p:nvPr/>
              </p:nvGrpSpPr>
              <p:grpSpPr bwMode="auto">
                <a:xfrm rot="-573653">
                  <a:off x="6921500" y="2532063"/>
                  <a:ext cx="153988" cy="171450"/>
                  <a:chOff x="4339966" y="1005332"/>
                  <a:chExt cx="417989" cy="405152"/>
                </a:xfrm>
              </p:grpSpPr>
              <p:sp>
                <p:nvSpPr>
                  <p:cNvPr id="222" name="Freeform 328">
                    <a:extLst>
                      <a:ext uri="{FF2B5EF4-FFF2-40B4-BE49-F238E27FC236}">
                        <a16:creationId xmlns:a16="http://schemas.microsoft.com/office/drawing/2014/main" id="{880B5F50-DB26-41FD-934F-0A103B7BB2AF}"/>
                      </a:ext>
                    </a:extLst>
                  </p:cNvPr>
                  <p:cNvSpPr>
                    <a:spLocks/>
                  </p:cNvSpPr>
                  <p:nvPr/>
                </p:nvSpPr>
                <p:spPr bwMode="auto">
                  <a:xfrm rot="5400000">
                    <a:off x="4346385" y="998913"/>
                    <a:ext cx="405152" cy="417989"/>
                  </a:xfrm>
                  <a:custGeom>
                    <a:avLst/>
                    <a:gdLst>
                      <a:gd name="T0" fmla="*/ 27 w 31"/>
                      <a:gd name="T1" fmla="*/ 12 h 30"/>
                      <a:gd name="T2" fmla="*/ 26 w 31"/>
                      <a:gd name="T3" fmla="*/ 8 h 30"/>
                      <a:gd name="T4" fmla="*/ 19 w 31"/>
                      <a:gd name="T5" fmla="*/ 8 h 30"/>
                      <a:gd name="T6" fmla="*/ 8 w 31"/>
                      <a:gd name="T7" fmla="*/ 16 h 30"/>
                      <a:gd name="T8" fmla="*/ 5 w 31"/>
                      <a:gd name="T9" fmla="*/ 23 h 30"/>
                      <a:gd name="T10" fmla="*/ 8 w 31"/>
                      <a:gd name="T11" fmla="*/ 25 h 30"/>
                      <a:gd name="T12" fmla="*/ 7 w 31"/>
                      <a:gd name="T13" fmla="*/ 30 h 30"/>
                      <a:gd name="T14" fmla="*/ 0 w 31"/>
                      <a:gd name="T15" fmla="*/ 25 h 30"/>
                      <a:gd name="T16" fmla="*/ 1 w 31"/>
                      <a:gd name="T17" fmla="*/ 15 h 30"/>
                      <a:gd name="T18" fmla="*/ 6 w 31"/>
                      <a:gd name="T19" fmla="*/ 9 h 30"/>
                      <a:gd name="T20" fmla="*/ 16 w 31"/>
                      <a:gd name="T21" fmla="*/ 2 h 30"/>
                      <a:gd name="T22" fmla="*/ 22 w 31"/>
                      <a:gd name="T23" fmla="*/ 0 h 30"/>
                      <a:gd name="T24" fmla="*/ 30 w 31"/>
                      <a:gd name="T25" fmla="*/ 5 h 30"/>
                      <a:gd name="T26" fmla="*/ 31 w 31"/>
                      <a:gd name="T27" fmla="*/ 12 h 30"/>
                      <a:gd name="T28" fmla="*/ 27 w 31"/>
                      <a:gd name="T29" fmla="*/ 12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1" h="30">
                        <a:moveTo>
                          <a:pt x="27" y="12"/>
                        </a:moveTo>
                        <a:lnTo>
                          <a:pt x="26" y="8"/>
                        </a:lnTo>
                        <a:lnTo>
                          <a:pt x="19" y="8"/>
                        </a:lnTo>
                        <a:lnTo>
                          <a:pt x="8" y="16"/>
                        </a:lnTo>
                        <a:lnTo>
                          <a:pt x="5" y="23"/>
                        </a:lnTo>
                        <a:lnTo>
                          <a:pt x="8" y="25"/>
                        </a:lnTo>
                        <a:lnTo>
                          <a:pt x="7" y="30"/>
                        </a:lnTo>
                        <a:lnTo>
                          <a:pt x="0" y="25"/>
                        </a:lnTo>
                        <a:lnTo>
                          <a:pt x="1" y="15"/>
                        </a:lnTo>
                        <a:lnTo>
                          <a:pt x="6" y="9"/>
                        </a:lnTo>
                        <a:lnTo>
                          <a:pt x="16" y="2"/>
                        </a:lnTo>
                        <a:lnTo>
                          <a:pt x="22" y="0"/>
                        </a:lnTo>
                        <a:lnTo>
                          <a:pt x="30" y="5"/>
                        </a:lnTo>
                        <a:lnTo>
                          <a:pt x="31" y="12"/>
                        </a:lnTo>
                        <a:lnTo>
                          <a:pt x="27" y="12"/>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sp>
                <p:nvSpPr>
                  <p:cNvPr id="223" name="Freeform 331">
                    <a:extLst>
                      <a:ext uri="{FF2B5EF4-FFF2-40B4-BE49-F238E27FC236}">
                        <a16:creationId xmlns:a16="http://schemas.microsoft.com/office/drawing/2014/main" id="{B0F7BAD0-3A85-448D-9D5F-EE8D23E1E1EA}"/>
                      </a:ext>
                    </a:extLst>
                  </p:cNvPr>
                  <p:cNvSpPr>
                    <a:spLocks/>
                  </p:cNvSpPr>
                  <p:nvPr/>
                </p:nvSpPr>
                <p:spPr bwMode="auto">
                  <a:xfrm rot="5400000">
                    <a:off x="4549519" y="1089500"/>
                    <a:ext cx="162489" cy="119796"/>
                  </a:xfrm>
                  <a:custGeom>
                    <a:avLst/>
                    <a:gdLst>
                      <a:gd name="T0" fmla="*/ 8 w 11"/>
                      <a:gd name="T1" fmla="*/ 8 h 9"/>
                      <a:gd name="T2" fmla="*/ 7 w 11"/>
                      <a:gd name="T3" fmla="*/ 8 h 9"/>
                      <a:gd name="T4" fmla="*/ 5 w 11"/>
                      <a:gd name="T5" fmla="*/ 9 h 9"/>
                      <a:gd name="T6" fmla="*/ 4 w 11"/>
                      <a:gd name="T7" fmla="*/ 9 h 9"/>
                      <a:gd name="T8" fmla="*/ 3 w 11"/>
                      <a:gd name="T9" fmla="*/ 9 h 9"/>
                      <a:gd name="T10" fmla="*/ 2 w 11"/>
                      <a:gd name="T11" fmla="*/ 9 h 9"/>
                      <a:gd name="T12" fmla="*/ 1 w 11"/>
                      <a:gd name="T13" fmla="*/ 8 h 9"/>
                      <a:gd name="T14" fmla="*/ 0 w 11"/>
                      <a:gd name="T15" fmla="*/ 7 h 9"/>
                      <a:gd name="T16" fmla="*/ 0 w 11"/>
                      <a:gd name="T17" fmla="*/ 5 h 9"/>
                      <a:gd name="T18" fmla="*/ 1 w 11"/>
                      <a:gd name="T19" fmla="*/ 4 h 9"/>
                      <a:gd name="T20" fmla="*/ 1 w 11"/>
                      <a:gd name="T21" fmla="*/ 3 h 9"/>
                      <a:gd name="T22" fmla="*/ 3 w 11"/>
                      <a:gd name="T23" fmla="*/ 2 h 9"/>
                      <a:gd name="T24" fmla="*/ 4 w 11"/>
                      <a:gd name="T25" fmla="*/ 1 h 9"/>
                      <a:gd name="T26" fmla="*/ 5 w 11"/>
                      <a:gd name="T27" fmla="*/ 0 h 9"/>
                      <a:gd name="T28" fmla="*/ 7 w 11"/>
                      <a:gd name="T29" fmla="*/ 0 h 9"/>
                      <a:gd name="T30" fmla="*/ 8 w 11"/>
                      <a:gd name="T31" fmla="*/ 0 h 9"/>
                      <a:gd name="T32" fmla="*/ 9 w 11"/>
                      <a:gd name="T33" fmla="*/ 0 h 9"/>
                      <a:gd name="T34" fmla="*/ 10 w 11"/>
                      <a:gd name="T35" fmla="*/ 1 h 9"/>
                      <a:gd name="T36" fmla="*/ 11 w 11"/>
                      <a:gd name="T37" fmla="*/ 2 h 9"/>
                      <a:gd name="T38" fmla="*/ 11 w 11"/>
                      <a:gd name="T39" fmla="*/ 4 h 9"/>
                      <a:gd name="T40" fmla="*/ 10 w 11"/>
                      <a:gd name="T41" fmla="*/ 5 h 9"/>
                      <a:gd name="T42" fmla="*/ 9 w 11"/>
                      <a:gd name="T43" fmla="*/ 7 h 9"/>
                      <a:gd name="T44" fmla="*/ 8 w 11"/>
                      <a:gd name="T45" fmla="*/ 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 h="9">
                        <a:moveTo>
                          <a:pt x="8" y="8"/>
                        </a:moveTo>
                        <a:lnTo>
                          <a:pt x="7" y="8"/>
                        </a:lnTo>
                        <a:lnTo>
                          <a:pt x="5" y="9"/>
                        </a:lnTo>
                        <a:lnTo>
                          <a:pt x="4" y="9"/>
                        </a:lnTo>
                        <a:lnTo>
                          <a:pt x="3" y="9"/>
                        </a:lnTo>
                        <a:lnTo>
                          <a:pt x="2" y="9"/>
                        </a:lnTo>
                        <a:lnTo>
                          <a:pt x="1" y="8"/>
                        </a:lnTo>
                        <a:lnTo>
                          <a:pt x="0" y="7"/>
                        </a:lnTo>
                        <a:lnTo>
                          <a:pt x="0" y="5"/>
                        </a:lnTo>
                        <a:lnTo>
                          <a:pt x="1" y="4"/>
                        </a:lnTo>
                        <a:lnTo>
                          <a:pt x="1" y="3"/>
                        </a:lnTo>
                        <a:lnTo>
                          <a:pt x="3" y="2"/>
                        </a:lnTo>
                        <a:lnTo>
                          <a:pt x="4" y="1"/>
                        </a:lnTo>
                        <a:lnTo>
                          <a:pt x="5" y="0"/>
                        </a:lnTo>
                        <a:lnTo>
                          <a:pt x="7" y="0"/>
                        </a:lnTo>
                        <a:lnTo>
                          <a:pt x="8" y="0"/>
                        </a:lnTo>
                        <a:lnTo>
                          <a:pt x="9" y="0"/>
                        </a:lnTo>
                        <a:lnTo>
                          <a:pt x="10" y="1"/>
                        </a:lnTo>
                        <a:lnTo>
                          <a:pt x="11" y="2"/>
                        </a:lnTo>
                        <a:lnTo>
                          <a:pt x="11" y="4"/>
                        </a:lnTo>
                        <a:lnTo>
                          <a:pt x="10" y="5"/>
                        </a:lnTo>
                        <a:lnTo>
                          <a:pt x="9" y="7"/>
                        </a:lnTo>
                        <a:lnTo>
                          <a:pt x="8" y="8"/>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grpSp>
            <p:grpSp>
              <p:nvGrpSpPr>
                <p:cNvPr id="167" name="Groupe 75">
                  <a:extLst>
                    <a:ext uri="{FF2B5EF4-FFF2-40B4-BE49-F238E27FC236}">
                      <a16:creationId xmlns:a16="http://schemas.microsoft.com/office/drawing/2014/main" id="{4111BDBC-DE2B-4446-9101-847F49BAD326}"/>
                    </a:ext>
                  </a:extLst>
                </p:cNvPr>
                <p:cNvGrpSpPr>
                  <a:grpSpLocks/>
                </p:cNvGrpSpPr>
                <p:nvPr/>
              </p:nvGrpSpPr>
              <p:grpSpPr bwMode="auto">
                <a:xfrm rot="5972653">
                  <a:off x="6887369" y="2967831"/>
                  <a:ext cx="171450" cy="153988"/>
                  <a:chOff x="4339966" y="1005332"/>
                  <a:chExt cx="417989" cy="405152"/>
                </a:xfrm>
              </p:grpSpPr>
              <p:sp>
                <p:nvSpPr>
                  <p:cNvPr id="220" name="Freeform 328">
                    <a:extLst>
                      <a:ext uri="{FF2B5EF4-FFF2-40B4-BE49-F238E27FC236}">
                        <a16:creationId xmlns:a16="http://schemas.microsoft.com/office/drawing/2014/main" id="{D2DF3D6B-685F-44E9-BB67-7069A6A1651A}"/>
                      </a:ext>
                    </a:extLst>
                  </p:cNvPr>
                  <p:cNvSpPr>
                    <a:spLocks/>
                  </p:cNvSpPr>
                  <p:nvPr/>
                </p:nvSpPr>
                <p:spPr bwMode="auto">
                  <a:xfrm rot="5400000">
                    <a:off x="4346385" y="998913"/>
                    <a:ext cx="405152" cy="417989"/>
                  </a:xfrm>
                  <a:custGeom>
                    <a:avLst/>
                    <a:gdLst>
                      <a:gd name="T0" fmla="*/ 27 w 31"/>
                      <a:gd name="T1" fmla="*/ 12 h 30"/>
                      <a:gd name="T2" fmla="*/ 26 w 31"/>
                      <a:gd name="T3" fmla="*/ 8 h 30"/>
                      <a:gd name="T4" fmla="*/ 19 w 31"/>
                      <a:gd name="T5" fmla="*/ 8 h 30"/>
                      <a:gd name="T6" fmla="*/ 8 w 31"/>
                      <a:gd name="T7" fmla="*/ 16 h 30"/>
                      <a:gd name="T8" fmla="*/ 5 w 31"/>
                      <a:gd name="T9" fmla="*/ 23 h 30"/>
                      <a:gd name="T10" fmla="*/ 8 w 31"/>
                      <a:gd name="T11" fmla="*/ 25 h 30"/>
                      <a:gd name="T12" fmla="*/ 7 w 31"/>
                      <a:gd name="T13" fmla="*/ 30 h 30"/>
                      <a:gd name="T14" fmla="*/ 0 w 31"/>
                      <a:gd name="T15" fmla="*/ 25 h 30"/>
                      <a:gd name="T16" fmla="*/ 1 w 31"/>
                      <a:gd name="T17" fmla="*/ 15 h 30"/>
                      <a:gd name="T18" fmla="*/ 6 w 31"/>
                      <a:gd name="T19" fmla="*/ 9 h 30"/>
                      <a:gd name="T20" fmla="*/ 16 w 31"/>
                      <a:gd name="T21" fmla="*/ 2 h 30"/>
                      <a:gd name="T22" fmla="*/ 22 w 31"/>
                      <a:gd name="T23" fmla="*/ 0 h 30"/>
                      <a:gd name="T24" fmla="*/ 30 w 31"/>
                      <a:gd name="T25" fmla="*/ 5 h 30"/>
                      <a:gd name="T26" fmla="*/ 31 w 31"/>
                      <a:gd name="T27" fmla="*/ 12 h 30"/>
                      <a:gd name="T28" fmla="*/ 27 w 31"/>
                      <a:gd name="T29" fmla="*/ 12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1" h="30">
                        <a:moveTo>
                          <a:pt x="27" y="12"/>
                        </a:moveTo>
                        <a:lnTo>
                          <a:pt x="26" y="8"/>
                        </a:lnTo>
                        <a:lnTo>
                          <a:pt x="19" y="8"/>
                        </a:lnTo>
                        <a:lnTo>
                          <a:pt x="8" y="16"/>
                        </a:lnTo>
                        <a:lnTo>
                          <a:pt x="5" y="23"/>
                        </a:lnTo>
                        <a:lnTo>
                          <a:pt x="8" y="25"/>
                        </a:lnTo>
                        <a:lnTo>
                          <a:pt x="7" y="30"/>
                        </a:lnTo>
                        <a:lnTo>
                          <a:pt x="0" y="25"/>
                        </a:lnTo>
                        <a:lnTo>
                          <a:pt x="1" y="15"/>
                        </a:lnTo>
                        <a:lnTo>
                          <a:pt x="6" y="9"/>
                        </a:lnTo>
                        <a:lnTo>
                          <a:pt x="16" y="2"/>
                        </a:lnTo>
                        <a:lnTo>
                          <a:pt x="22" y="0"/>
                        </a:lnTo>
                        <a:lnTo>
                          <a:pt x="30" y="5"/>
                        </a:lnTo>
                        <a:lnTo>
                          <a:pt x="31" y="12"/>
                        </a:lnTo>
                        <a:lnTo>
                          <a:pt x="27" y="12"/>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sp>
                <p:nvSpPr>
                  <p:cNvPr id="221" name="Freeform 331">
                    <a:extLst>
                      <a:ext uri="{FF2B5EF4-FFF2-40B4-BE49-F238E27FC236}">
                        <a16:creationId xmlns:a16="http://schemas.microsoft.com/office/drawing/2014/main" id="{590CD5F7-722A-47F2-817E-A5CDBFA523DD}"/>
                      </a:ext>
                    </a:extLst>
                  </p:cNvPr>
                  <p:cNvSpPr>
                    <a:spLocks/>
                  </p:cNvSpPr>
                  <p:nvPr/>
                </p:nvSpPr>
                <p:spPr bwMode="auto">
                  <a:xfrm rot="5400000">
                    <a:off x="4549519" y="1089500"/>
                    <a:ext cx="162489" cy="119796"/>
                  </a:xfrm>
                  <a:custGeom>
                    <a:avLst/>
                    <a:gdLst>
                      <a:gd name="T0" fmla="*/ 8 w 11"/>
                      <a:gd name="T1" fmla="*/ 8 h 9"/>
                      <a:gd name="T2" fmla="*/ 7 w 11"/>
                      <a:gd name="T3" fmla="*/ 8 h 9"/>
                      <a:gd name="T4" fmla="*/ 5 w 11"/>
                      <a:gd name="T5" fmla="*/ 9 h 9"/>
                      <a:gd name="T6" fmla="*/ 4 w 11"/>
                      <a:gd name="T7" fmla="*/ 9 h 9"/>
                      <a:gd name="T8" fmla="*/ 3 w 11"/>
                      <a:gd name="T9" fmla="*/ 9 h 9"/>
                      <a:gd name="T10" fmla="*/ 2 w 11"/>
                      <a:gd name="T11" fmla="*/ 9 h 9"/>
                      <a:gd name="T12" fmla="*/ 1 w 11"/>
                      <a:gd name="T13" fmla="*/ 8 h 9"/>
                      <a:gd name="T14" fmla="*/ 0 w 11"/>
                      <a:gd name="T15" fmla="*/ 7 h 9"/>
                      <a:gd name="T16" fmla="*/ 0 w 11"/>
                      <a:gd name="T17" fmla="*/ 5 h 9"/>
                      <a:gd name="T18" fmla="*/ 1 w 11"/>
                      <a:gd name="T19" fmla="*/ 4 h 9"/>
                      <a:gd name="T20" fmla="*/ 1 w 11"/>
                      <a:gd name="T21" fmla="*/ 3 h 9"/>
                      <a:gd name="T22" fmla="*/ 3 w 11"/>
                      <a:gd name="T23" fmla="*/ 2 h 9"/>
                      <a:gd name="T24" fmla="*/ 4 w 11"/>
                      <a:gd name="T25" fmla="*/ 1 h 9"/>
                      <a:gd name="T26" fmla="*/ 5 w 11"/>
                      <a:gd name="T27" fmla="*/ 0 h 9"/>
                      <a:gd name="T28" fmla="*/ 7 w 11"/>
                      <a:gd name="T29" fmla="*/ 0 h 9"/>
                      <a:gd name="T30" fmla="*/ 8 w 11"/>
                      <a:gd name="T31" fmla="*/ 0 h 9"/>
                      <a:gd name="T32" fmla="*/ 9 w 11"/>
                      <a:gd name="T33" fmla="*/ 0 h 9"/>
                      <a:gd name="T34" fmla="*/ 10 w 11"/>
                      <a:gd name="T35" fmla="*/ 1 h 9"/>
                      <a:gd name="T36" fmla="*/ 11 w 11"/>
                      <a:gd name="T37" fmla="*/ 2 h 9"/>
                      <a:gd name="T38" fmla="*/ 11 w 11"/>
                      <a:gd name="T39" fmla="*/ 4 h 9"/>
                      <a:gd name="T40" fmla="*/ 10 w 11"/>
                      <a:gd name="T41" fmla="*/ 5 h 9"/>
                      <a:gd name="T42" fmla="*/ 9 w 11"/>
                      <a:gd name="T43" fmla="*/ 7 h 9"/>
                      <a:gd name="T44" fmla="*/ 8 w 11"/>
                      <a:gd name="T45" fmla="*/ 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 h="9">
                        <a:moveTo>
                          <a:pt x="8" y="8"/>
                        </a:moveTo>
                        <a:lnTo>
                          <a:pt x="7" y="8"/>
                        </a:lnTo>
                        <a:lnTo>
                          <a:pt x="5" y="9"/>
                        </a:lnTo>
                        <a:lnTo>
                          <a:pt x="4" y="9"/>
                        </a:lnTo>
                        <a:lnTo>
                          <a:pt x="3" y="9"/>
                        </a:lnTo>
                        <a:lnTo>
                          <a:pt x="2" y="9"/>
                        </a:lnTo>
                        <a:lnTo>
                          <a:pt x="1" y="8"/>
                        </a:lnTo>
                        <a:lnTo>
                          <a:pt x="0" y="7"/>
                        </a:lnTo>
                        <a:lnTo>
                          <a:pt x="0" y="5"/>
                        </a:lnTo>
                        <a:lnTo>
                          <a:pt x="1" y="4"/>
                        </a:lnTo>
                        <a:lnTo>
                          <a:pt x="1" y="3"/>
                        </a:lnTo>
                        <a:lnTo>
                          <a:pt x="3" y="2"/>
                        </a:lnTo>
                        <a:lnTo>
                          <a:pt x="4" y="1"/>
                        </a:lnTo>
                        <a:lnTo>
                          <a:pt x="5" y="0"/>
                        </a:lnTo>
                        <a:lnTo>
                          <a:pt x="7" y="0"/>
                        </a:lnTo>
                        <a:lnTo>
                          <a:pt x="8" y="0"/>
                        </a:lnTo>
                        <a:lnTo>
                          <a:pt x="9" y="0"/>
                        </a:lnTo>
                        <a:lnTo>
                          <a:pt x="10" y="1"/>
                        </a:lnTo>
                        <a:lnTo>
                          <a:pt x="11" y="2"/>
                        </a:lnTo>
                        <a:lnTo>
                          <a:pt x="11" y="4"/>
                        </a:lnTo>
                        <a:lnTo>
                          <a:pt x="10" y="5"/>
                        </a:lnTo>
                        <a:lnTo>
                          <a:pt x="9" y="7"/>
                        </a:lnTo>
                        <a:lnTo>
                          <a:pt x="8" y="8"/>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grpSp>
            <p:grpSp>
              <p:nvGrpSpPr>
                <p:cNvPr id="168" name="Groupe 78">
                  <a:extLst>
                    <a:ext uri="{FF2B5EF4-FFF2-40B4-BE49-F238E27FC236}">
                      <a16:creationId xmlns:a16="http://schemas.microsoft.com/office/drawing/2014/main" id="{9482A86B-220D-473D-970A-BF0AF9854D12}"/>
                    </a:ext>
                  </a:extLst>
                </p:cNvPr>
                <p:cNvGrpSpPr>
                  <a:grpSpLocks/>
                </p:cNvGrpSpPr>
                <p:nvPr/>
              </p:nvGrpSpPr>
              <p:grpSpPr bwMode="auto">
                <a:xfrm rot="-10358823">
                  <a:off x="6005513" y="2954338"/>
                  <a:ext cx="152400" cy="171450"/>
                  <a:chOff x="4339966" y="1005332"/>
                  <a:chExt cx="417989" cy="405152"/>
                </a:xfrm>
              </p:grpSpPr>
              <p:sp>
                <p:nvSpPr>
                  <p:cNvPr id="218" name="Freeform 328">
                    <a:extLst>
                      <a:ext uri="{FF2B5EF4-FFF2-40B4-BE49-F238E27FC236}">
                        <a16:creationId xmlns:a16="http://schemas.microsoft.com/office/drawing/2014/main" id="{32290829-126E-44E5-A23A-B45EBD23A51D}"/>
                      </a:ext>
                    </a:extLst>
                  </p:cNvPr>
                  <p:cNvSpPr>
                    <a:spLocks/>
                  </p:cNvSpPr>
                  <p:nvPr/>
                </p:nvSpPr>
                <p:spPr bwMode="auto">
                  <a:xfrm rot="5400000">
                    <a:off x="4346385" y="998913"/>
                    <a:ext cx="405152" cy="417989"/>
                  </a:xfrm>
                  <a:custGeom>
                    <a:avLst/>
                    <a:gdLst>
                      <a:gd name="T0" fmla="*/ 27 w 31"/>
                      <a:gd name="T1" fmla="*/ 12 h 30"/>
                      <a:gd name="T2" fmla="*/ 26 w 31"/>
                      <a:gd name="T3" fmla="*/ 8 h 30"/>
                      <a:gd name="T4" fmla="*/ 19 w 31"/>
                      <a:gd name="T5" fmla="*/ 8 h 30"/>
                      <a:gd name="T6" fmla="*/ 8 w 31"/>
                      <a:gd name="T7" fmla="*/ 16 h 30"/>
                      <a:gd name="T8" fmla="*/ 5 w 31"/>
                      <a:gd name="T9" fmla="*/ 23 h 30"/>
                      <a:gd name="T10" fmla="*/ 8 w 31"/>
                      <a:gd name="T11" fmla="*/ 25 h 30"/>
                      <a:gd name="T12" fmla="*/ 7 w 31"/>
                      <a:gd name="T13" fmla="*/ 30 h 30"/>
                      <a:gd name="T14" fmla="*/ 0 w 31"/>
                      <a:gd name="T15" fmla="*/ 25 h 30"/>
                      <a:gd name="T16" fmla="*/ 1 w 31"/>
                      <a:gd name="T17" fmla="*/ 15 h 30"/>
                      <a:gd name="T18" fmla="*/ 6 w 31"/>
                      <a:gd name="T19" fmla="*/ 9 h 30"/>
                      <a:gd name="T20" fmla="*/ 16 w 31"/>
                      <a:gd name="T21" fmla="*/ 2 h 30"/>
                      <a:gd name="T22" fmla="*/ 22 w 31"/>
                      <a:gd name="T23" fmla="*/ 0 h 30"/>
                      <a:gd name="T24" fmla="*/ 30 w 31"/>
                      <a:gd name="T25" fmla="*/ 5 h 30"/>
                      <a:gd name="T26" fmla="*/ 31 w 31"/>
                      <a:gd name="T27" fmla="*/ 12 h 30"/>
                      <a:gd name="T28" fmla="*/ 27 w 31"/>
                      <a:gd name="T29" fmla="*/ 12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1" h="30">
                        <a:moveTo>
                          <a:pt x="27" y="12"/>
                        </a:moveTo>
                        <a:lnTo>
                          <a:pt x="26" y="8"/>
                        </a:lnTo>
                        <a:lnTo>
                          <a:pt x="19" y="8"/>
                        </a:lnTo>
                        <a:lnTo>
                          <a:pt x="8" y="16"/>
                        </a:lnTo>
                        <a:lnTo>
                          <a:pt x="5" y="23"/>
                        </a:lnTo>
                        <a:lnTo>
                          <a:pt x="8" y="25"/>
                        </a:lnTo>
                        <a:lnTo>
                          <a:pt x="7" y="30"/>
                        </a:lnTo>
                        <a:lnTo>
                          <a:pt x="0" y="25"/>
                        </a:lnTo>
                        <a:lnTo>
                          <a:pt x="1" y="15"/>
                        </a:lnTo>
                        <a:lnTo>
                          <a:pt x="6" y="9"/>
                        </a:lnTo>
                        <a:lnTo>
                          <a:pt x="16" y="2"/>
                        </a:lnTo>
                        <a:lnTo>
                          <a:pt x="22" y="0"/>
                        </a:lnTo>
                        <a:lnTo>
                          <a:pt x="30" y="5"/>
                        </a:lnTo>
                        <a:lnTo>
                          <a:pt x="31" y="12"/>
                        </a:lnTo>
                        <a:lnTo>
                          <a:pt x="27" y="12"/>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sp>
                <p:nvSpPr>
                  <p:cNvPr id="219" name="Freeform 331">
                    <a:extLst>
                      <a:ext uri="{FF2B5EF4-FFF2-40B4-BE49-F238E27FC236}">
                        <a16:creationId xmlns:a16="http://schemas.microsoft.com/office/drawing/2014/main" id="{67F00CD0-4835-4D56-AE0C-86A5F9D8F7E1}"/>
                      </a:ext>
                    </a:extLst>
                  </p:cNvPr>
                  <p:cNvSpPr>
                    <a:spLocks/>
                  </p:cNvSpPr>
                  <p:nvPr/>
                </p:nvSpPr>
                <p:spPr bwMode="auto">
                  <a:xfrm rot="5400000">
                    <a:off x="4549519" y="1089500"/>
                    <a:ext cx="162489" cy="119796"/>
                  </a:xfrm>
                  <a:custGeom>
                    <a:avLst/>
                    <a:gdLst>
                      <a:gd name="T0" fmla="*/ 8 w 11"/>
                      <a:gd name="T1" fmla="*/ 8 h 9"/>
                      <a:gd name="T2" fmla="*/ 7 w 11"/>
                      <a:gd name="T3" fmla="*/ 8 h 9"/>
                      <a:gd name="T4" fmla="*/ 5 w 11"/>
                      <a:gd name="T5" fmla="*/ 9 h 9"/>
                      <a:gd name="T6" fmla="*/ 4 w 11"/>
                      <a:gd name="T7" fmla="*/ 9 h 9"/>
                      <a:gd name="T8" fmla="*/ 3 w 11"/>
                      <a:gd name="T9" fmla="*/ 9 h 9"/>
                      <a:gd name="T10" fmla="*/ 2 w 11"/>
                      <a:gd name="T11" fmla="*/ 9 h 9"/>
                      <a:gd name="T12" fmla="*/ 1 w 11"/>
                      <a:gd name="T13" fmla="*/ 8 h 9"/>
                      <a:gd name="T14" fmla="*/ 0 w 11"/>
                      <a:gd name="T15" fmla="*/ 7 h 9"/>
                      <a:gd name="T16" fmla="*/ 0 w 11"/>
                      <a:gd name="T17" fmla="*/ 5 h 9"/>
                      <a:gd name="T18" fmla="*/ 1 w 11"/>
                      <a:gd name="T19" fmla="*/ 4 h 9"/>
                      <a:gd name="T20" fmla="*/ 1 w 11"/>
                      <a:gd name="T21" fmla="*/ 3 h 9"/>
                      <a:gd name="T22" fmla="*/ 3 w 11"/>
                      <a:gd name="T23" fmla="*/ 2 h 9"/>
                      <a:gd name="T24" fmla="*/ 4 w 11"/>
                      <a:gd name="T25" fmla="*/ 1 h 9"/>
                      <a:gd name="T26" fmla="*/ 5 w 11"/>
                      <a:gd name="T27" fmla="*/ 0 h 9"/>
                      <a:gd name="T28" fmla="*/ 7 w 11"/>
                      <a:gd name="T29" fmla="*/ 0 h 9"/>
                      <a:gd name="T30" fmla="*/ 8 w 11"/>
                      <a:gd name="T31" fmla="*/ 0 h 9"/>
                      <a:gd name="T32" fmla="*/ 9 w 11"/>
                      <a:gd name="T33" fmla="*/ 0 h 9"/>
                      <a:gd name="T34" fmla="*/ 10 w 11"/>
                      <a:gd name="T35" fmla="*/ 1 h 9"/>
                      <a:gd name="T36" fmla="*/ 11 w 11"/>
                      <a:gd name="T37" fmla="*/ 2 h 9"/>
                      <a:gd name="T38" fmla="*/ 11 w 11"/>
                      <a:gd name="T39" fmla="*/ 4 h 9"/>
                      <a:gd name="T40" fmla="*/ 10 w 11"/>
                      <a:gd name="T41" fmla="*/ 5 h 9"/>
                      <a:gd name="T42" fmla="*/ 9 w 11"/>
                      <a:gd name="T43" fmla="*/ 7 h 9"/>
                      <a:gd name="T44" fmla="*/ 8 w 11"/>
                      <a:gd name="T45" fmla="*/ 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 h="9">
                        <a:moveTo>
                          <a:pt x="8" y="8"/>
                        </a:moveTo>
                        <a:lnTo>
                          <a:pt x="7" y="8"/>
                        </a:lnTo>
                        <a:lnTo>
                          <a:pt x="5" y="9"/>
                        </a:lnTo>
                        <a:lnTo>
                          <a:pt x="4" y="9"/>
                        </a:lnTo>
                        <a:lnTo>
                          <a:pt x="3" y="9"/>
                        </a:lnTo>
                        <a:lnTo>
                          <a:pt x="2" y="9"/>
                        </a:lnTo>
                        <a:lnTo>
                          <a:pt x="1" y="8"/>
                        </a:lnTo>
                        <a:lnTo>
                          <a:pt x="0" y="7"/>
                        </a:lnTo>
                        <a:lnTo>
                          <a:pt x="0" y="5"/>
                        </a:lnTo>
                        <a:lnTo>
                          <a:pt x="1" y="4"/>
                        </a:lnTo>
                        <a:lnTo>
                          <a:pt x="1" y="3"/>
                        </a:lnTo>
                        <a:lnTo>
                          <a:pt x="3" y="2"/>
                        </a:lnTo>
                        <a:lnTo>
                          <a:pt x="4" y="1"/>
                        </a:lnTo>
                        <a:lnTo>
                          <a:pt x="5" y="0"/>
                        </a:lnTo>
                        <a:lnTo>
                          <a:pt x="7" y="0"/>
                        </a:lnTo>
                        <a:lnTo>
                          <a:pt x="8" y="0"/>
                        </a:lnTo>
                        <a:lnTo>
                          <a:pt x="9" y="0"/>
                        </a:lnTo>
                        <a:lnTo>
                          <a:pt x="10" y="1"/>
                        </a:lnTo>
                        <a:lnTo>
                          <a:pt x="11" y="2"/>
                        </a:lnTo>
                        <a:lnTo>
                          <a:pt x="11" y="4"/>
                        </a:lnTo>
                        <a:lnTo>
                          <a:pt x="10" y="5"/>
                        </a:lnTo>
                        <a:lnTo>
                          <a:pt x="9" y="7"/>
                        </a:lnTo>
                        <a:lnTo>
                          <a:pt x="8" y="8"/>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grpSp>
            <p:pic>
              <p:nvPicPr>
                <p:cNvPr id="169" name="Image 84">
                  <a:extLst>
                    <a:ext uri="{FF2B5EF4-FFF2-40B4-BE49-F238E27FC236}">
                      <a16:creationId xmlns:a16="http://schemas.microsoft.com/office/drawing/2014/main" id="{2E9ED545-F5F4-4EB7-ACCB-F83B9174B0C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87650" y="3132138"/>
                  <a:ext cx="11112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0" name="Rectangle 94">
                  <a:extLst>
                    <a:ext uri="{FF2B5EF4-FFF2-40B4-BE49-F238E27FC236}">
                      <a16:creationId xmlns:a16="http://schemas.microsoft.com/office/drawing/2014/main" id="{5D2FF0C0-877F-40AF-B5D6-57F4844597C2}"/>
                    </a:ext>
                  </a:extLst>
                </p:cNvPr>
                <p:cNvSpPr>
                  <a:spLocks noChangeArrowheads="1"/>
                </p:cNvSpPr>
                <p:nvPr/>
              </p:nvSpPr>
              <p:spPr bwMode="auto">
                <a:xfrm>
                  <a:off x="4341813" y="2454275"/>
                  <a:ext cx="274159" cy="124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35000"/>
                    </a:spcBef>
                    <a:buClr>
                      <a:srgbClr val="F7B100"/>
                    </a:buClr>
                    <a:buFont typeface="Wingdings" panose="05000000000000000000" pitchFamily="2" charset="2"/>
                    <a:buChar char="§"/>
                    <a:defRPr>
                      <a:solidFill>
                        <a:schemeClr val="tx1"/>
                      </a:solidFill>
                      <a:latin typeface="Arial" panose="020B0604020202020204" pitchFamily="34" charset="0"/>
                    </a:defRPr>
                  </a:lvl1pPr>
                  <a:lvl2pPr marL="742950" indent="-285750">
                    <a:spcBef>
                      <a:spcPct val="30000"/>
                    </a:spcBef>
                    <a:buClr>
                      <a:srgbClr val="F7B100"/>
                    </a:buClr>
                    <a:buFont typeface="Wingdings" panose="05000000000000000000" pitchFamily="2" charset="2"/>
                    <a:buChar char="§"/>
                    <a:defRPr sz="1600">
                      <a:solidFill>
                        <a:schemeClr val="tx1"/>
                      </a:solidFill>
                      <a:latin typeface="Arial" panose="020B0604020202020204" pitchFamily="34" charset="0"/>
                    </a:defRPr>
                  </a:lvl2pPr>
                  <a:lvl3pPr marL="1143000" indent="-228600">
                    <a:spcBef>
                      <a:spcPct val="35000"/>
                    </a:spcBef>
                    <a:buFont typeface="Wingdings" panose="05000000000000000000" pitchFamily="2" charset="2"/>
                    <a:buChar char="§"/>
                    <a:defRPr sz="1400">
                      <a:solidFill>
                        <a:schemeClr val="tx1"/>
                      </a:solidFill>
                      <a:latin typeface="Arial" panose="020B0604020202020204" pitchFamily="34" charset="0"/>
                    </a:defRPr>
                  </a:lvl3pPr>
                  <a:lvl4pPr marL="1600200" indent="-228600">
                    <a:spcBef>
                      <a:spcPct val="40000"/>
                    </a:spcBef>
                    <a:buFont typeface="Wingdings" panose="05000000000000000000" pitchFamily="2" charset="2"/>
                    <a:defRPr sz="11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spcBef>
                      <a:spcPct val="0"/>
                    </a:spcBef>
                    <a:buClrTx/>
                    <a:buFontTx/>
                    <a:buNone/>
                  </a:pPr>
                  <a:r>
                    <a:rPr lang="fr-FR" altLang="fr-FR" sz="600" b="0" dirty="0"/>
                    <a:t>AP1</a:t>
                  </a:r>
                  <a:endParaRPr lang="en-US" altLang="fr-FR" sz="300" b="0" dirty="0"/>
                </a:p>
              </p:txBody>
            </p:sp>
            <p:sp>
              <p:nvSpPr>
                <p:cNvPr id="171" name="Rectangle 95">
                  <a:extLst>
                    <a:ext uri="{FF2B5EF4-FFF2-40B4-BE49-F238E27FC236}">
                      <a16:creationId xmlns:a16="http://schemas.microsoft.com/office/drawing/2014/main" id="{15488F3C-CC75-4B66-BFA5-AFBE61554749}"/>
                    </a:ext>
                  </a:extLst>
                </p:cNvPr>
                <p:cNvSpPr>
                  <a:spLocks noChangeArrowheads="1"/>
                </p:cNvSpPr>
                <p:nvPr/>
              </p:nvSpPr>
              <p:spPr bwMode="auto">
                <a:xfrm>
                  <a:off x="5421313" y="2438400"/>
                  <a:ext cx="254215" cy="113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35000"/>
                    </a:spcBef>
                    <a:buClr>
                      <a:srgbClr val="F7B100"/>
                    </a:buClr>
                    <a:buFont typeface="Wingdings" panose="05000000000000000000" pitchFamily="2" charset="2"/>
                    <a:buChar char="§"/>
                    <a:defRPr>
                      <a:solidFill>
                        <a:schemeClr val="tx1"/>
                      </a:solidFill>
                      <a:latin typeface="Arial" panose="020B0604020202020204" pitchFamily="34" charset="0"/>
                    </a:defRPr>
                  </a:lvl1pPr>
                  <a:lvl2pPr marL="742950" indent="-285750">
                    <a:spcBef>
                      <a:spcPct val="30000"/>
                    </a:spcBef>
                    <a:buClr>
                      <a:srgbClr val="F7B100"/>
                    </a:buClr>
                    <a:buFont typeface="Wingdings" panose="05000000000000000000" pitchFamily="2" charset="2"/>
                    <a:buChar char="§"/>
                    <a:defRPr sz="1600">
                      <a:solidFill>
                        <a:schemeClr val="tx1"/>
                      </a:solidFill>
                      <a:latin typeface="Arial" panose="020B0604020202020204" pitchFamily="34" charset="0"/>
                    </a:defRPr>
                  </a:lvl2pPr>
                  <a:lvl3pPr marL="1143000" indent="-228600">
                    <a:spcBef>
                      <a:spcPct val="35000"/>
                    </a:spcBef>
                    <a:buFont typeface="Wingdings" panose="05000000000000000000" pitchFamily="2" charset="2"/>
                    <a:buChar char="§"/>
                    <a:defRPr sz="1400">
                      <a:solidFill>
                        <a:schemeClr val="tx1"/>
                      </a:solidFill>
                      <a:latin typeface="Arial" panose="020B0604020202020204" pitchFamily="34" charset="0"/>
                    </a:defRPr>
                  </a:lvl3pPr>
                  <a:lvl4pPr marL="1600200" indent="-228600">
                    <a:spcBef>
                      <a:spcPct val="40000"/>
                    </a:spcBef>
                    <a:buFont typeface="Wingdings" panose="05000000000000000000" pitchFamily="2" charset="2"/>
                    <a:defRPr sz="11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spcBef>
                      <a:spcPct val="0"/>
                    </a:spcBef>
                    <a:buClrTx/>
                    <a:buFontTx/>
                    <a:buNone/>
                  </a:pPr>
                  <a:r>
                    <a:rPr lang="fr-FR" altLang="fr-FR" sz="500" b="0" dirty="0"/>
                    <a:t>AP2</a:t>
                  </a:r>
                  <a:endParaRPr lang="en-US" altLang="fr-FR" sz="300" b="0" dirty="0"/>
                </a:p>
              </p:txBody>
            </p:sp>
            <p:sp>
              <p:nvSpPr>
                <p:cNvPr id="172" name="Rectangle 96">
                  <a:extLst>
                    <a:ext uri="{FF2B5EF4-FFF2-40B4-BE49-F238E27FC236}">
                      <a16:creationId xmlns:a16="http://schemas.microsoft.com/office/drawing/2014/main" id="{F4B818A8-8A35-4AD6-90D7-F55FEAEE7DD1}"/>
                    </a:ext>
                  </a:extLst>
                </p:cNvPr>
                <p:cNvSpPr>
                  <a:spLocks noChangeArrowheads="1"/>
                </p:cNvSpPr>
                <p:nvPr/>
              </p:nvSpPr>
              <p:spPr bwMode="auto">
                <a:xfrm>
                  <a:off x="5453063" y="3059113"/>
                  <a:ext cx="254215" cy="113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35000"/>
                    </a:spcBef>
                    <a:buClr>
                      <a:srgbClr val="F7B100"/>
                    </a:buClr>
                    <a:buFont typeface="Wingdings" panose="05000000000000000000" pitchFamily="2" charset="2"/>
                    <a:buChar char="§"/>
                    <a:defRPr>
                      <a:solidFill>
                        <a:schemeClr val="tx1"/>
                      </a:solidFill>
                      <a:latin typeface="Arial" panose="020B0604020202020204" pitchFamily="34" charset="0"/>
                    </a:defRPr>
                  </a:lvl1pPr>
                  <a:lvl2pPr marL="742950" indent="-285750">
                    <a:spcBef>
                      <a:spcPct val="30000"/>
                    </a:spcBef>
                    <a:buClr>
                      <a:srgbClr val="F7B100"/>
                    </a:buClr>
                    <a:buFont typeface="Wingdings" panose="05000000000000000000" pitchFamily="2" charset="2"/>
                    <a:buChar char="§"/>
                    <a:defRPr sz="1600">
                      <a:solidFill>
                        <a:schemeClr val="tx1"/>
                      </a:solidFill>
                      <a:latin typeface="Arial" panose="020B0604020202020204" pitchFamily="34" charset="0"/>
                    </a:defRPr>
                  </a:lvl2pPr>
                  <a:lvl3pPr marL="1143000" indent="-228600">
                    <a:spcBef>
                      <a:spcPct val="35000"/>
                    </a:spcBef>
                    <a:buFont typeface="Wingdings" panose="05000000000000000000" pitchFamily="2" charset="2"/>
                    <a:buChar char="§"/>
                    <a:defRPr sz="1400">
                      <a:solidFill>
                        <a:schemeClr val="tx1"/>
                      </a:solidFill>
                      <a:latin typeface="Arial" panose="020B0604020202020204" pitchFamily="34" charset="0"/>
                    </a:defRPr>
                  </a:lvl3pPr>
                  <a:lvl4pPr marL="1600200" indent="-228600">
                    <a:spcBef>
                      <a:spcPct val="40000"/>
                    </a:spcBef>
                    <a:buFont typeface="Wingdings" panose="05000000000000000000" pitchFamily="2" charset="2"/>
                    <a:defRPr sz="11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spcBef>
                      <a:spcPct val="0"/>
                    </a:spcBef>
                    <a:buClrTx/>
                    <a:buFontTx/>
                    <a:buNone/>
                  </a:pPr>
                  <a:r>
                    <a:rPr lang="fr-FR" altLang="fr-FR" sz="500" b="0" dirty="0"/>
                    <a:t>AP3</a:t>
                  </a:r>
                  <a:endParaRPr lang="en-US" altLang="fr-FR" sz="300" b="0" dirty="0"/>
                </a:p>
              </p:txBody>
            </p:sp>
            <p:sp>
              <p:nvSpPr>
                <p:cNvPr id="173" name="Rectangle 97">
                  <a:extLst>
                    <a:ext uri="{FF2B5EF4-FFF2-40B4-BE49-F238E27FC236}">
                      <a16:creationId xmlns:a16="http://schemas.microsoft.com/office/drawing/2014/main" id="{F23BB273-3F0C-4371-A866-B165ECF33122}"/>
                    </a:ext>
                  </a:extLst>
                </p:cNvPr>
                <p:cNvSpPr>
                  <a:spLocks noChangeArrowheads="1"/>
                </p:cNvSpPr>
                <p:nvPr/>
              </p:nvSpPr>
              <p:spPr bwMode="auto">
                <a:xfrm>
                  <a:off x="4300538" y="3059113"/>
                  <a:ext cx="254215" cy="113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35000"/>
                    </a:spcBef>
                    <a:buClr>
                      <a:srgbClr val="F7B100"/>
                    </a:buClr>
                    <a:buFont typeface="Wingdings" panose="05000000000000000000" pitchFamily="2" charset="2"/>
                    <a:buChar char="§"/>
                    <a:defRPr>
                      <a:solidFill>
                        <a:schemeClr val="tx1"/>
                      </a:solidFill>
                      <a:latin typeface="Arial" panose="020B0604020202020204" pitchFamily="34" charset="0"/>
                    </a:defRPr>
                  </a:lvl1pPr>
                  <a:lvl2pPr marL="742950" indent="-285750">
                    <a:spcBef>
                      <a:spcPct val="30000"/>
                    </a:spcBef>
                    <a:buClr>
                      <a:srgbClr val="F7B100"/>
                    </a:buClr>
                    <a:buFont typeface="Wingdings" panose="05000000000000000000" pitchFamily="2" charset="2"/>
                    <a:buChar char="§"/>
                    <a:defRPr sz="1600">
                      <a:solidFill>
                        <a:schemeClr val="tx1"/>
                      </a:solidFill>
                      <a:latin typeface="Arial" panose="020B0604020202020204" pitchFamily="34" charset="0"/>
                    </a:defRPr>
                  </a:lvl2pPr>
                  <a:lvl3pPr marL="1143000" indent="-228600">
                    <a:spcBef>
                      <a:spcPct val="35000"/>
                    </a:spcBef>
                    <a:buFont typeface="Wingdings" panose="05000000000000000000" pitchFamily="2" charset="2"/>
                    <a:buChar char="§"/>
                    <a:defRPr sz="1400">
                      <a:solidFill>
                        <a:schemeClr val="tx1"/>
                      </a:solidFill>
                      <a:latin typeface="Arial" panose="020B0604020202020204" pitchFamily="34" charset="0"/>
                    </a:defRPr>
                  </a:lvl3pPr>
                  <a:lvl4pPr marL="1600200" indent="-228600">
                    <a:spcBef>
                      <a:spcPct val="40000"/>
                    </a:spcBef>
                    <a:buFont typeface="Wingdings" panose="05000000000000000000" pitchFamily="2" charset="2"/>
                    <a:defRPr sz="11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spcBef>
                      <a:spcPct val="0"/>
                    </a:spcBef>
                    <a:buClrTx/>
                    <a:buFontTx/>
                    <a:buNone/>
                  </a:pPr>
                  <a:r>
                    <a:rPr lang="fr-FR" altLang="fr-FR" sz="500" b="0" dirty="0"/>
                    <a:t>AP4</a:t>
                  </a:r>
                  <a:endParaRPr lang="en-US" altLang="fr-FR" sz="300" b="0" dirty="0"/>
                </a:p>
              </p:txBody>
            </p:sp>
            <p:pic>
              <p:nvPicPr>
                <p:cNvPr id="174" name="Image 98">
                  <a:extLst>
                    <a:ext uri="{FF2B5EF4-FFF2-40B4-BE49-F238E27FC236}">
                      <a16:creationId xmlns:a16="http://schemas.microsoft.com/office/drawing/2014/main" id="{272E21E3-A078-43EF-ACAB-350DFC89F051}"/>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757488" y="2509838"/>
                  <a:ext cx="938212"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 name="Image 99">
                  <a:extLst>
                    <a:ext uri="{FF2B5EF4-FFF2-40B4-BE49-F238E27FC236}">
                      <a16:creationId xmlns:a16="http://schemas.microsoft.com/office/drawing/2014/main" id="{89472E05-2D8C-4762-94F4-5F93D8BA44CB}"/>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560888" y="2636838"/>
                  <a:ext cx="949325" cy="45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8" name="Rectangle à coins arrondis 264">
                  <a:extLst>
                    <a:ext uri="{FF2B5EF4-FFF2-40B4-BE49-F238E27FC236}">
                      <a16:creationId xmlns:a16="http://schemas.microsoft.com/office/drawing/2014/main" id="{5DAE45D7-998E-4F0F-8482-7E4E14227F09}"/>
                    </a:ext>
                  </a:extLst>
                </p:cNvPr>
                <p:cNvSpPr/>
                <p:nvPr/>
              </p:nvSpPr>
              <p:spPr>
                <a:xfrm>
                  <a:off x="874713" y="2454275"/>
                  <a:ext cx="1643062" cy="820738"/>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p>
              </p:txBody>
            </p:sp>
            <p:pic>
              <p:nvPicPr>
                <p:cNvPr id="179" name="Image 13">
                  <a:extLst>
                    <a:ext uri="{FF2B5EF4-FFF2-40B4-BE49-F238E27FC236}">
                      <a16:creationId xmlns:a16="http://schemas.microsoft.com/office/drawing/2014/main" id="{E2AEE5F4-788C-4D3F-BC44-64813C39180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8863" y="3114675"/>
                  <a:ext cx="112712"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0" name="ZoneTexte 14">
                  <a:extLst>
                    <a:ext uri="{FF2B5EF4-FFF2-40B4-BE49-F238E27FC236}">
                      <a16:creationId xmlns:a16="http://schemas.microsoft.com/office/drawing/2014/main" id="{FACC9F3E-B72E-4F9C-81AC-E93FEB300712}"/>
                    </a:ext>
                  </a:extLst>
                </p:cNvPr>
                <p:cNvSpPr txBox="1">
                  <a:spLocks noChangeArrowheads="1"/>
                </p:cNvSpPr>
                <p:nvPr/>
              </p:nvSpPr>
              <p:spPr bwMode="auto">
                <a:xfrm>
                  <a:off x="1177116" y="2455062"/>
                  <a:ext cx="885825"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35000"/>
                    </a:spcBef>
                    <a:buClr>
                      <a:srgbClr val="F7B100"/>
                    </a:buClr>
                    <a:buFont typeface="Wingdings" panose="05000000000000000000" pitchFamily="2" charset="2"/>
                    <a:buChar char="§"/>
                    <a:defRPr>
                      <a:solidFill>
                        <a:schemeClr val="tx1"/>
                      </a:solidFill>
                      <a:latin typeface="Arial" panose="020B0604020202020204" pitchFamily="34" charset="0"/>
                    </a:defRPr>
                  </a:lvl1pPr>
                  <a:lvl2pPr marL="742950" indent="-285750">
                    <a:spcBef>
                      <a:spcPct val="30000"/>
                    </a:spcBef>
                    <a:buClr>
                      <a:srgbClr val="F7B100"/>
                    </a:buClr>
                    <a:buFont typeface="Wingdings" panose="05000000000000000000" pitchFamily="2" charset="2"/>
                    <a:buChar char="§"/>
                    <a:defRPr sz="1600">
                      <a:solidFill>
                        <a:schemeClr val="tx1"/>
                      </a:solidFill>
                      <a:latin typeface="Arial" panose="020B0604020202020204" pitchFamily="34" charset="0"/>
                    </a:defRPr>
                  </a:lvl2pPr>
                  <a:lvl3pPr marL="1143000" indent="-228600">
                    <a:spcBef>
                      <a:spcPct val="35000"/>
                    </a:spcBef>
                    <a:buFont typeface="Wingdings" panose="05000000000000000000" pitchFamily="2" charset="2"/>
                    <a:buChar char="§"/>
                    <a:defRPr sz="1400">
                      <a:solidFill>
                        <a:schemeClr val="tx1"/>
                      </a:solidFill>
                      <a:latin typeface="Arial" panose="020B0604020202020204" pitchFamily="34" charset="0"/>
                    </a:defRPr>
                  </a:lvl3pPr>
                  <a:lvl4pPr marL="1600200" indent="-228600">
                    <a:spcBef>
                      <a:spcPct val="40000"/>
                    </a:spcBef>
                    <a:buFont typeface="Wingdings" panose="05000000000000000000" pitchFamily="2" charset="2"/>
                    <a:defRPr sz="11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spcBef>
                      <a:spcPct val="0"/>
                    </a:spcBef>
                    <a:buClrTx/>
                    <a:buFontTx/>
                    <a:buNone/>
                  </a:pPr>
                  <a:r>
                    <a:rPr lang="fr-FR" altLang="fr-FR" sz="1000" b="0" dirty="0"/>
                    <a:t>CCD/G400</a:t>
                  </a:r>
                  <a:endParaRPr lang="en-US" altLang="fr-FR" sz="1000" b="0" dirty="0"/>
                </a:p>
              </p:txBody>
            </p:sp>
            <p:grpSp>
              <p:nvGrpSpPr>
                <p:cNvPr id="181" name="Groupe 33">
                  <a:extLst>
                    <a:ext uri="{FF2B5EF4-FFF2-40B4-BE49-F238E27FC236}">
                      <a16:creationId xmlns:a16="http://schemas.microsoft.com/office/drawing/2014/main" id="{79A04D36-86A0-451C-ADF5-59C7809863F4}"/>
                    </a:ext>
                  </a:extLst>
                </p:cNvPr>
                <p:cNvGrpSpPr>
                  <a:grpSpLocks/>
                </p:cNvGrpSpPr>
                <p:nvPr/>
              </p:nvGrpSpPr>
              <p:grpSpPr bwMode="auto">
                <a:xfrm rot="-5188777">
                  <a:off x="962025" y="2492375"/>
                  <a:ext cx="171450" cy="152400"/>
                  <a:chOff x="4339966" y="1005332"/>
                  <a:chExt cx="417989" cy="405152"/>
                </a:xfrm>
              </p:grpSpPr>
              <p:sp>
                <p:nvSpPr>
                  <p:cNvPr id="199" name="Freeform 328">
                    <a:extLst>
                      <a:ext uri="{FF2B5EF4-FFF2-40B4-BE49-F238E27FC236}">
                        <a16:creationId xmlns:a16="http://schemas.microsoft.com/office/drawing/2014/main" id="{AE3CCEBF-7895-4D2F-9344-8E63E6EB2EDB}"/>
                      </a:ext>
                    </a:extLst>
                  </p:cNvPr>
                  <p:cNvSpPr>
                    <a:spLocks/>
                  </p:cNvSpPr>
                  <p:nvPr/>
                </p:nvSpPr>
                <p:spPr bwMode="auto">
                  <a:xfrm rot="5400000">
                    <a:off x="4346385" y="998913"/>
                    <a:ext cx="405152" cy="417989"/>
                  </a:xfrm>
                  <a:custGeom>
                    <a:avLst/>
                    <a:gdLst>
                      <a:gd name="T0" fmla="*/ 27 w 31"/>
                      <a:gd name="T1" fmla="*/ 12 h 30"/>
                      <a:gd name="T2" fmla="*/ 26 w 31"/>
                      <a:gd name="T3" fmla="*/ 8 h 30"/>
                      <a:gd name="T4" fmla="*/ 19 w 31"/>
                      <a:gd name="T5" fmla="*/ 8 h 30"/>
                      <a:gd name="T6" fmla="*/ 8 w 31"/>
                      <a:gd name="T7" fmla="*/ 16 h 30"/>
                      <a:gd name="T8" fmla="*/ 5 w 31"/>
                      <a:gd name="T9" fmla="*/ 23 h 30"/>
                      <a:gd name="T10" fmla="*/ 8 w 31"/>
                      <a:gd name="T11" fmla="*/ 25 h 30"/>
                      <a:gd name="T12" fmla="*/ 7 w 31"/>
                      <a:gd name="T13" fmla="*/ 30 h 30"/>
                      <a:gd name="T14" fmla="*/ 0 w 31"/>
                      <a:gd name="T15" fmla="*/ 25 h 30"/>
                      <a:gd name="T16" fmla="*/ 1 w 31"/>
                      <a:gd name="T17" fmla="*/ 15 h 30"/>
                      <a:gd name="T18" fmla="*/ 6 w 31"/>
                      <a:gd name="T19" fmla="*/ 9 h 30"/>
                      <a:gd name="T20" fmla="*/ 16 w 31"/>
                      <a:gd name="T21" fmla="*/ 2 h 30"/>
                      <a:gd name="T22" fmla="*/ 22 w 31"/>
                      <a:gd name="T23" fmla="*/ 0 h 30"/>
                      <a:gd name="T24" fmla="*/ 30 w 31"/>
                      <a:gd name="T25" fmla="*/ 5 h 30"/>
                      <a:gd name="T26" fmla="*/ 31 w 31"/>
                      <a:gd name="T27" fmla="*/ 12 h 30"/>
                      <a:gd name="T28" fmla="*/ 27 w 31"/>
                      <a:gd name="T29" fmla="*/ 12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1" h="30">
                        <a:moveTo>
                          <a:pt x="27" y="12"/>
                        </a:moveTo>
                        <a:lnTo>
                          <a:pt x="26" y="8"/>
                        </a:lnTo>
                        <a:lnTo>
                          <a:pt x="19" y="8"/>
                        </a:lnTo>
                        <a:lnTo>
                          <a:pt x="8" y="16"/>
                        </a:lnTo>
                        <a:lnTo>
                          <a:pt x="5" y="23"/>
                        </a:lnTo>
                        <a:lnTo>
                          <a:pt x="8" y="25"/>
                        </a:lnTo>
                        <a:lnTo>
                          <a:pt x="7" y="30"/>
                        </a:lnTo>
                        <a:lnTo>
                          <a:pt x="0" y="25"/>
                        </a:lnTo>
                        <a:lnTo>
                          <a:pt x="1" y="15"/>
                        </a:lnTo>
                        <a:lnTo>
                          <a:pt x="6" y="9"/>
                        </a:lnTo>
                        <a:lnTo>
                          <a:pt x="16" y="2"/>
                        </a:lnTo>
                        <a:lnTo>
                          <a:pt x="22" y="0"/>
                        </a:lnTo>
                        <a:lnTo>
                          <a:pt x="30" y="5"/>
                        </a:lnTo>
                        <a:lnTo>
                          <a:pt x="31" y="12"/>
                        </a:lnTo>
                        <a:lnTo>
                          <a:pt x="27" y="12"/>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sp>
                <p:nvSpPr>
                  <p:cNvPr id="200" name="Freeform 331">
                    <a:extLst>
                      <a:ext uri="{FF2B5EF4-FFF2-40B4-BE49-F238E27FC236}">
                        <a16:creationId xmlns:a16="http://schemas.microsoft.com/office/drawing/2014/main" id="{EA7E7126-F12E-467C-A9B4-F0AFA14CA2A1}"/>
                      </a:ext>
                    </a:extLst>
                  </p:cNvPr>
                  <p:cNvSpPr>
                    <a:spLocks/>
                  </p:cNvSpPr>
                  <p:nvPr/>
                </p:nvSpPr>
                <p:spPr bwMode="auto">
                  <a:xfrm rot="5400000">
                    <a:off x="4549519" y="1089500"/>
                    <a:ext cx="162489" cy="119796"/>
                  </a:xfrm>
                  <a:custGeom>
                    <a:avLst/>
                    <a:gdLst>
                      <a:gd name="T0" fmla="*/ 8 w 11"/>
                      <a:gd name="T1" fmla="*/ 8 h 9"/>
                      <a:gd name="T2" fmla="*/ 7 w 11"/>
                      <a:gd name="T3" fmla="*/ 8 h 9"/>
                      <a:gd name="T4" fmla="*/ 5 w 11"/>
                      <a:gd name="T5" fmla="*/ 9 h 9"/>
                      <a:gd name="T6" fmla="*/ 4 w 11"/>
                      <a:gd name="T7" fmla="*/ 9 h 9"/>
                      <a:gd name="T8" fmla="*/ 3 w 11"/>
                      <a:gd name="T9" fmla="*/ 9 h 9"/>
                      <a:gd name="T10" fmla="*/ 2 w 11"/>
                      <a:gd name="T11" fmla="*/ 9 h 9"/>
                      <a:gd name="T12" fmla="*/ 1 w 11"/>
                      <a:gd name="T13" fmla="*/ 8 h 9"/>
                      <a:gd name="T14" fmla="*/ 0 w 11"/>
                      <a:gd name="T15" fmla="*/ 7 h 9"/>
                      <a:gd name="T16" fmla="*/ 0 w 11"/>
                      <a:gd name="T17" fmla="*/ 5 h 9"/>
                      <a:gd name="T18" fmla="*/ 1 w 11"/>
                      <a:gd name="T19" fmla="*/ 4 h 9"/>
                      <a:gd name="T20" fmla="*/ 1 w 11"/>
                      <a:gd name="T21" fmla="*/ 3 h 9"/>
                      <a:gd name="T22" fmla="*/ 3 w 11"/>
                      <a:gd name="T23" fmla="*/ 2 h 9"/>
                      <a:gd name="T24" fmla="*/ 4 w 11"/>
                      <a:gd name="T25" fmla="*/ 1 h 9"/>
                      <a:gd name="T26" fmla="*/ 5 w 11"/>
                      <a:gd name="T27" fmla="*/ 0 h 9"/>
                      <a:gd name="T28" fmla="*/ 7 w 11"/>
                      <a:gd name="T29" fmla="*/ 0 h 9"/>
                      <a:gd name="T30" fmla="*/ 8 w 11"/>
                      <a:gd name="T31" fmla="*/ 0 h 9"/>
                      <a:gd name="T32" fmla="*/ 9 w 11"/>
                      <a:gd name="T33" fmla="*/ 0 h 9"/>
                      <a:gd name="T34" fmla="*/ 10 w 11"/>
                      <a:gd name="T35" fmla="*/ 1 h 9"/>
                      <a:gd name="T36" fmla="*/ 11 w 11"/>
                      <a:gd name="T37" fmla="*/ 2 h 9"/>
                      <a:gd name="T38" fmla="*/ 11 w 11"/>
                      <a:gd name="T39" fmla="*/ 4 h 9"/>
                      <a:gd name="T40" fmla="*/ 10 w 11"/>
                      <a:gd name="T41" fmla="*/ 5 h 9"/>
                      <a:gd name="T42" fmla="*/ 9 w 11"/>
                      <a:gd name="T43" fmla="*/ 7 h 9"/>
                      <a:gd name="T44" fmla="*/ 8 w 11"/>
                      <a:gd name="T45" fmla="*/ 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 h="9">
                        <a:moveTo>
                          <a:pt x="8" y="8"/>
                        </a:moveTo>
                        <a:lnTo>
                          <a:pt x="7" y="8"/>
                        </a:lnTo>
                        <a:lnTo>
                          <a:pt x="5" y="9"/>
                        </a:lnTo>
                        <a:lnTo>
                          <a:pt x="4" y="9"/>
                        </a:lnTo>
                        <a:lnTo>
                          <a:pt x="3" y="9"/>
                        </a:lnTo>
                        <a:lnTo>
                          <a:pt x="2" y="9"/>
                        </a:lnTo>
                        <a:lnTo>
                          <a:pt x="1" y="8"/>
                        </a:lnTo>
                        <a:lnTo>
                          <a:pt x="0" y="7"/>
                        </a:lnTo>
                        <a:lnTo>
                          <a:pt x="0" y="5"/>
                        </a:lnTo>
                        <a:lnTo>
                          <a:pt x="1" y="4"/>
                        </a:lnTo>
                        <a:lnTo>
                          <a:pt x="1" y="3"/>
                        </a:lnTo>
                        <a:lnTo>
                          <a:pt x="3" y="2"/>
                        </a:lnTo>
                        <a:lnTo>
                          <a:pt x="4" y="1"/>
                        </a:lnTo>
                        <a:lnTo>
                          <a:pt x="5" y="0"/>
                        </a:lnTo>
                        <a:lnTo>
                          <a:pt x="7" y="0"/>
                        </a:lnTo>
                        <a:lnTo>
                          <a:pt x="8" y="0"/>
                        </a:lnTo>
                        <a:lnTo>
                          <a:pt x="9" y="0"/>
                        </a:lnTo>
                        <a:lnTo>
                          <a:pt x="10" y="1"/>
                        </a:lnTo>
                        <a:lnTo>
                          <a:pt x="11" y="2"/>
                        </a:lnTo>
                        <a:lnTo>
                          <a:pt x="11" y="4"/>
                        </a:lnTo>
                        <a:lnTo>
                          <a:pt x="10" y="5"/>
                        </a:lnTo>
                        <a:lnTo>
                          <a:pt x="9" y="7"/>
                        </a:lnTo>
                        <a:lnTo>
                          <a:pt x="8" y="8"/>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grpSp>
            <p:grpSp>
              <p:nvGrpSpPr>
                <p:cNvPr id="182" name="Groupe 36">
                  <a:extLst>
                    <a:ext uri="{FF2B5EF4-FFF2-40B4-BE49-F238E27FC236}">
                      <a16:creationId xmlns:a16="http://schemas.microsoft.com/office/drawing/2014/main" id="{CE014108-ED83-46F6-BD61-A1F1272806FD}"/>
                    </a:ext>
                  </a:extLst>
                </p:cNvPr>
                <p:cNvGrpSpPr>
                  <a:grpSpLocks/>
                </p:cNvGrpSpPr>
                <p:nvPr/>
              </p:nvGrpSpPr>
              <p:grpSpPr bwMode="auto">
                <a:xfrm rot="-573653">
                  <a:off x="1849438" y="2522538"/>
                  <a:ext cx="152400" cy="171450"/>
                  <a:chOff x="4339966" y="1005332"/>
                  <a:chExt cx="417989" cy="405152"/>
                </a:xfrm>
              </p:grpSpPr>
              <p:sp>
                <p:nvSpPr>
                  <p:cNvPr id="197" name="Freeform 328">
                    <a:extLst>
                      <a:ext uri="{FF2B5EF4-FFF2-40B4-BE49-F238E27FC236}">
                        <a16:creationId xmlns:a16="http://schemas.microsoft.com/office/drawing/2014/main" id="{BB6F887F-035F-4F0B-98FE-9DBF16F20E9D}"/>
                      </a:ext>
                    </a:extLst>
                  </p:cNvPr>
                  <p:cNvSpPr>
                    <a:spLocks/>
                  </p:cNvSpPr>
                  <p:nvPr/>
                </p:nvSpPr>
                <p:spPr bwMode="auto">
                  <a:xfrm rot="5400000">
                    <a:off x="4346385" y="998913"/>
                    <a:ext cx="405152" cy="417989"/>
                  </a:xfrm>
                  <a:custGeom>
                    <a:avLst/>
                    <a:gdLst>
                      <a:gd name="T0" fmla="*/ 27 w 31"/>
                      <a:gd name="T1" fmla="*/ 12 h 30"/>
                      <a:gd name="T2" fmla="*/ 26 w 31"/>
                      <a:gd name="T3" fmla="*/ 8 h 30"/>
                      <a:gd name="T4" fmla="*/ 19 w 31"/>
                      <a:gd name="T5" fmla="*/ 8 h 30"/>
                      <a:gd name="T6" fmla="*/ 8 w 31"/>
                      <a:gd name="T7" fmla="*/ 16 h 30"/>
                      <a:gd name="T8" fmla="*/ 5 w 31"/>
                      <a:gd name="T9" fmla="*/ 23 h 30"/>
                      <a:gd name="T10" fmla="*/ 8 w 31"/>
                      <a:gd name="T11" fmla="*/ 25 h 30"/>
                      <a:gd name="T12" fmla="*/ 7 w 31"/>
                      <a:gd name="T13" fmla="*/ 30 h 30"/>
                      <a:gd name="T14" fmla="*/ 0 w 31"/>
                      <a:gd name="T15" fmla="*/ 25 h 30"/>
                      <a:gd name="T16" fmla="*/ 1 w 31"/>
                      <a:gd name="T17" fmla="*/ 15 h 30"/>
                      <a:gd name="T18" fmla="*/ 6 w 31"/>
                      <a:gd name="T19" fmla="*/ 9 h 30"/>
                      <a:gd name="T20" fmla="*/ 16 w 31"/>
                      <a:gd name="T21" fmla="*/ 2 h 30"/>
                      <a:gd name="T22" fmla="*/ 22 w 31"/>
                      <a:gd name="T23" fmla="*/ 0 h 30"/>
                      <a:gd name="T24" fmla="*/ 30 w 31"/>
                      <a:gd name="T25" fmla="*/ 5 h 30"/>
                      <a:gd name="T26" fmla="*/ 31 w 31"/>
                      <a:gd name="T27" fmla="*/ 12 h 30"/>
                      <a:gd name="T28" fmla="*/ 27 w 31"/>
                      <a:gd name="T29" fmla="*/ 12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1" h="30">
                        <a:moveTo>
                          <a:pt x="27" y="12"/>
                        </a:moveTo>
                        <a:lnTo>
                          <a:pt x="26" y="8"/>
                        </a:lnTo>
                        <a:lnTo>
                          <a:pt x="19" y="8"/>
                        </a:lnTo>
                        <a:lnTo>
                          <a:pt x="8" y="16"/>
                        </a:lnTo>
                        <a:lnTo>
                          <a:pt x="5" y="23"/>
                        </a:lnTo>
                        <a:lnTo>
                          <a:pt x="8" y="25"/>
                        </a:lnTo>
                        <a:lnTo>
                          <a:pt x="7" y="30"/>
                        </a:lnTo>
                        <a:lnTo>
                          <a:pt x="0" y="25"/>
                        </a:lnTo>
                        <a:lnTo>
                          <a:pt x="1" y="15"/>
                        </a:lnTo>
                        <a:lnTo>
                          <a:pt x="6" y="9"/>
                        </a:lnTo>
                        <a:lnTo>
                          <a:pt x="16" y="2"/>
                        </a:lnTo>
                        <a:lnTo>
                          <a:pt x="22" y="0"/>
                        </a:lnTo>
                        <a:lnTo>
                          <a:pt x="30" y="5"/>
                        </a:lnTo>
                        <a:lnTo>
                          <a:pt x="31" y="12"/>
                        </a:lnTo>
                        <a:lnTo>
                          <a:pt x="27" y="12"/>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sp>
                <p:nvSpPr>
                  <p:cNvPr id="198" name="Freeform 331">
                    <a:extLst>
                      <a:ext uri="{FF2B5EF4-FFF2-40B4-BE49-F238E27FC236}">
                        <a16:creationId xmlns:a16="http://schemas.microsoft.com/office/drawing/2014/main" id="{EAA2DDAA-98C6-486C-AD78-214AC3F80EA0}"/>
                      </a:ext>
                    </a:extLst>
                  </p:cNvPr>
                  <p:cNvSpPr>
                    <a:spLocks/>
                  </p:cNvSpPr>
                  <p:nvPr/>
                </p:nvSpPr>
                <p:spPr bwMode="auto">
                  <a:xfrm rot="5400000">
                    <a:off x="4549519" y="1089500"/>
                    <a:ext cx="162489" cy="119796"/>
                  </a:xfrm>
                  <a:custGeom>
                    <a:avLst/>
                    <a:gdLst>
                      <a:gd name="T0" fmla="*/ 8 w 11"/>
                      <a:gd name="T1" fmla="*/ 8 h 9"/>
                      <a:gd name="T2" fmla="*/ 7 w 11"/>
                      <a:gd name="T3" fmla="*/ 8 h 9"/>
                      <a:gd name="T4" fmla="*/ 5 w 11"/>
                      <a:gd name="T5" fmla="*/ 9 h 9"/>
                      <a:gd name="T6" fmla="*/ 4 w 11"/>
                      <a:gd name="T7" fmla="*/ 9 h 9"/>
                      <a:gd name="T8" fmla="*/ 3 w 11"/>
                      <a:gd name="T9" fmla="*/ 9 h 9"/>
                      <a:gd name="T10" fmla="*/ 2 w 11"/>
                      <a:gd name="T11" fmla="*/ 9 h 9"/>
                      <a:gd name="T12" fmla="*/ 1 w 11"/>
                      <a:gd name="T13" fmla="*/ 8 h 9"/>
                      <a:gd name="T14" fmla="*/ 0 w 11"/>
                      <a:gd name="T15" fmla="*/ 7 h 9"/>
                      <a:gd name="T16" fmla="*/ 0 w 11"/>
                      <a:gd name="T17" fmla="*/ 5 h 9"/>
                      <a:gd name="T18" fmla="*/ 1 w 11"/>
                      <a:gd name="T19" fmla="*/ 4 h 9"/>
                      <a:gd name="T20" fmla="*/ 1 w 11"/>
                      <a:gd name="T21" fmla="*/ 3 h 9"/>
                      <a:gd name="T22" fmla="*/ 3 w 11"/>
                      <a:gd name="T23" fmla="*/ 2 h 9"/>
                      <a:gd name="T24" fmla="*/ 4 w 11"/>
                      <a:gd name="T25" fmla="*/ 1 h 9"/>
                      <a:gd name="T26" fmla="*/ 5 w 11"/>
                      <a:gd name="T27" fmla="*/ 0 h 9"/>
                      <a:gd name="T28" fmla="*/ 7 w 11"/>
                      <a:gd name="T29" fmla="*/ 0 h 9"/>
                      <a:gd name="T30" fmla="*/ 8 w 11"/>
                      <a:gd name="T31" fmla="*/ 0 h 9"/>
                      <a:gd name="T32" fmla="*/ 9 w 11"/>
                      <a:gd name="T33" fmla="*/ 0 h 9"/>
                      <a:gd name="T34" fmla="*/ 10 w 11"/>
                      <a:gd name="T35" fmla="*/ 1 h 9"/>
                      <a:gd name="T36" fmla="*/ 11 w 11"/>
                      <a:gd name="T37" fmla="*/ 2 h 9"/>
                      <a:gd name="T38" fmla="*/ 11 w 11"/>
                      <a:gd name="T39" fmla="*/ 4 h 9"/>
                      <a:gd name="T40" fmla="*/ 10 w 11"/>
                      <a:gd name="T41" fmla="*/ 5 h 9"/>
                      <a:gd name="T42" fmla="*/ 9 w 11"/>
                      <a:gd name="T43" fmla="*/ 7 h 9"/>
                      <a:gd name="T44" fmla="*/ 8 w 11"/>
                      <a:gd name="T45" fmla="*/ 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 h="9">
                        <a:moveTo>
                          <a:pt x="8" y="8"/>
                        </a:moveTo>
                        <a:lnTo>
                          <a:pt x="7" y="8"/>
                        </a:lnTo>
                        <a:lnTo>
                          <a:pt x="5" y="9"/>
                        </a:lnTo>
                        <a:lnTo>
                          <a:pt x="4" y="9"/>
                        </a:lnTo>
                        <a:lnTo>
                          <a:pt x="3" y="9"/>
                        </a:lnTo>
                        <a:lnTo>
                          <a:pt x="2" y="9"/>
                        </a:lnTo>
                        <a:lnTo>
                          <a:pt x="1" y="8"/>
                        </a:lnTo>
                        <a:lnTo>
                          <a:pt x="0" y="7"/>
                        </a:lnTo>
                        <a:lnTo>
                          <a:pt x="0" y="5"/>
                        </a:lnTo>
                        <a:lnTo>
                          <a:pt x="1" y="4"/>
                        </a:lnTo>
                        <a:lnTo>
                          <a:pt x="1" y="3"/>
                        </a:lnTo>
                        <a:lnTo>
                          <a:pt x="3" y="2"/>
                        </a:lnTo>
                        <a:lnTo>
                          <a:pt x="4" y="1"/>
                        </a:lnTo>
                        <a:lnTo>
                          <a:pt x="5" y="0"/>
                        </a:lnTo>
                        <a:lnTo>
                          <a:pt x="7" y="0"/>
                        </a:lnTo>
                        <a:lnTo>
                          <a:pt x="8" y="0"/>
                        </a:lnTo>
                        <a:lnTo>
                          <a:pt x="9" y="0"/>
                        </a:lnTo>
                        <a:lnTo>
                          <a:pt x="10" y="1"/>
                        </a:lnTo>
                        <a:lnTo>
                          <a:pt x="11" y="2"/>
                        </a:lnTo>
                        <a:lnTo>
                          <a:pt x="11" y="4"/>
                        </a:lnTo>
                        <a:lnTo>
                          <a:pt x="10" y="5"/>
                        </a:lnTo>
                        <a:lnTo>
                          <a:pt x="9" y="7"/>
                        </a:lnTo>
                        <a:lnTo>
                          <a:pt x="8" y="8"/>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grpSp>
            <p:grpSp>
              <p:nvGrpSpPr>
                <p:cNvPr id="183" name="Groupe 39">
                  <a:extLst>
                    <a:ext uri="{FF2B5EF4-FFF2-40B4-BE49-F238E27FC236}">
                      <a16:creationId xmlns:a16="http://schemas.microsoft.com/office/drawing/2014/main" id="{D70603E7-5615-4A9B-A6AF-9E2BE614217B}"/>
                    </a:ext>
                  </a:extLst>
                </p:cNvPr>
                <p:cNvGrpSpPr>
                  <a:grpSpLocks/>
                </p:cNvGrpSpPr>
                <p:nvPr/>
              </p:nvGrpSpPr>
              <p:grpSpPr bwMode="auto">
                <a:xfrm rot="5972653">
                  <a:off x="1815307" y="2959894"/>
                  <a:ext cx="171450" cy="153987"/>
                  <a:chOff x="4339966" y="1005332"/>
                  <a:chExt cx="417989" cy="405152"/>
                </a:xfrm>
              </p:grpSpPr>
              <p:sp>
                <p:nvSpPr>
                  <p:cNvPr id="195" name="Freeform 328">
                    <a:extLst>
                      <a:ext uri="{FF2B5EF4-FFF2-40B4-BE49-F238E27FC236}">
                        <a16:creationId xmlns:a16="http://schemas.microsoft.com/office/drawing/2014/main" id="{EE73C11E-288C-4DDF-959A-72A95FD274D8}"/>
                      </a:ext>
                    </a:extLst>
                  </p:cNvPr>
                  <p:cNvSpPr>
                    <a:spLocks/>
                  </p:cNvSpPr>
                  <p:nvPr/>
                </p:nvSpPr>
                <p:spPr bwMode="auto">
                  <a:xfrm rot="5400000">
                    <a:off x="4346385" y="998913"/>
                    <a:ext cx="405152" cy="417989"/>
                  </a:xfrm>
                  <a:custGeom>
                    <a:avLst/>
                    <a:gdLst>
                      <a:gd name="T0" fmla="*/ 27 w 31"/>
                      <a:gd name="T1" fmla="*/ 12 h 30"/>
                      <a:gd name="T2" fmla="*/ 26 w 31"/>
                      <a:gd name="T3" fmla="*/ 8 h 30"/>
                      <a:gd name="T4" fmla="*/ 19 w 31"/>
                      <a:gd name="T5" fmla="*/ 8 h 30"/>
                      <a:gd name="T6" fmla="*/ 8 w 31"/>
                      <a:gd name="T7" fmla="*/ 16 h 30"/>
                      <a:gd name="T8" fmla="*/ 5 w 31"/>
                      <a:gd name="T9" fmla="*/ 23 h 30"/>
                      <a:gd name="T10" fmla="*/ 8 w 31"/>
                      <a:gd name="T11" fmla="*/ 25 h 30"/>
                      <a:gd name="T12" fmla="*/ 7 w 31"/>
                      <a:gd name="T13" fmla="*/ 30 h 30"/>
                      <a:gd name="T14" fmla="*/ 0 w 31"/>
                      <a:gd name="T15" fmla="*/ 25 h 30"/>
                      <a:gd name="T16" fmla="*/ 1 w 31"/>
                      <a:gd name="T17" fmla="*/ 15 h 30"/>
                      <a:gd name="T18" fmla="*/ 6 w 31"/>
                      <a:gd name="T19" fmla="*/ 9 h 30"/>
                      <a:gd name="T20" fmla="*/ 16 w 31"/>
                      <a:gd name="T21" fmla="*/ 2 h 30"/>
                      <a:gd name="T22" fmla="*/ 22 w 31"/>
                      <a:gd name="T23" fmla="*/ 0 h 30"/>
                      <a:gd name="T24" fmla="*/ 30 w 31"/>
                      <a:gd name="T25" fmla="*/ 5 h 30"/>
                      <a:gd name="T26" fmla="*/ 31 w 31"/>
                      <a:gd name="T27" fmla="*/ 12 h 30"/>
                      <a:gd name="T28" fmla="*/ 27 w 31"/>
                      <a:gd name="T29" fmla="*/ 12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1" h="30">
                        <a:moveTo>
                          <a:pt x="27" y="12"/>
                        </a:moveTo>
                        <a:lnTo>
                          <a:pt x="26" y="8"/>
                        </a:lnTo>
                        <a:lnTo>
                          <a:pt x="19" y="8"/>
                        </a:lnTo>
                        <a:lnTo>
                          <a:pt x="8" y="16"/>
                        </a:lnTo>
                        <a:lnTo>
                          <a:pt x="5" y="23"/>
                        </a:lnTo>
                        <a:lnTo>
                          <a:pt x="8" y="25"/>
                        </a:lnTo>
                        <a:lnTo>
                          <a:pt x="7" y="30"/>
                        </a:lnTo>
                        <a:lnTo>
                          <a:pt x="0" y="25"/>
                        </a:lnTo>
                        <a:lnTo>
                          <a:pt x="1" y="15"/>
                        </a:lnTo>
                        <a:lnTo>
                          <a:pt x="6" y="9"/>
                        </a:lnTo>
                        <a:lnTo>
                          <a:pt x="16" y="2"/>
                        </a:lnTo>
                        <a:lnTo>
                          <a:pt x="22" y="0"/>
                        </a:lnTo>
                        <a:lnTo>
                          <a:pt x="30" y="5"/>
                        </a:lnTo>
                        <a:lnTo>
                          <a:pt x="31" y="12"/>
                        </a:lnTo>
                        <a:lnTo>
                          <a:pt x="27" y="12"/>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sp>
                <p:nvSpPr>
                  <p:cNvPr id="196" name="Freeform 331">
                    <a:extLst>
                      <a:ext uri="{FF2B5EF4-FFF2-40B4-BE49-F238E27FC236}">
                        <a16:creationId xmlns:a16="http://schemas.microsoft.com/office/drawing/2014/main" id="{0CE3D5D3-A7D4-4FFD-8051-EAF1509E1D7D}"/>
                      </a:ext>
                    </a:extLst>
                  </p:cNvPr>
                  <p:cNvSpPr>
                    <a:spLocks/>
                  </p:cNvSpPr>
                  <p:nvPr/>
                </p:nvSpPr>
                <p:spPr bwMode="auto">
                  <a:xfrm rot="5400000">
                    <a:off x="4549519" y="1089500"/>
                    <a:ext cx="162489" cy="119796"/>
                  </a:xfrm>
                  <a:custGeom>
                    <a:avLst/>
                    <a:gdLst>
                      <a:gd name="T0" fmla="*/ 8 w 11"/>
                      <a:gd name="T1" fmla="*/ 8 h 9"/>
                      <a:gd name="T2" fmla="*/ 7 w 11"/>
                      <a:gd name="T3" fmla="*/ 8 h 9"/>
                      <a:gd name="T4" fmla="*/ 5 w 11"/>
                      <a:gd name="T5" fmla="*/ 9 h 9"/>
                      <a:gd name="T6" fmla="*/ 4 w 11"/>
                      <a:gd name="T7" fmla="*/ 9 h 9"/>
                      <a:gd name="T8" fmla="*/ 3 w 11"/>
                      <a:gd name="T9" fmla="*/ 9 h 9"/>
                      <a:gd name="T10" fmla="*/ 2 w 11"/>
                      <a:gd name="T11" fmla="*/ 9 h 9"/>
                      <a:gd name="T12" fmla="*/ 1 w 11"/>
                      <a:gd name="T13" fmla="*/ 8 h 9"/>
                      <a:gd name="T14" fmla="*/ 0 w 11"/>
                      <a:gd name="T15" fmla="*/ 7 h 9"/>
                      <a:gd name="T16" fmla="*/ 0 w 11"/>
                      <a:gd name="T17" fmla="*/ 5 h 9"/>
                      <a:gd name="T18" fmla="*/ 1 w 11"/>
                      <a:gd name="T19" fmla="*/ 4 h 9"/>
                      <a:gd name="T20" fmla="*/ 1 w 11"/>
                      <a:gd name="T21" fmla="*/ 3 h 9"/>
                      <a:gd name="T22" fmla="*/ 3 w 11"/>
                      <a:gd name="T23" fmla="*/ 2 h 9"/>
                      <a:gd name="T24" fmla="*/ 4 w 11"/>
                      <a:gd name="T25" fmla="*/ 1 h 9"/>
                      <a:gd name="T26" fmla="*/ 5 w 11"/>
                      <a:gd name="T27" fmla="*/ 0 h 9"/>
                      <a:gd name="T28" fmla="*/ 7 w 11"/>
                      <a:gd name="T29" fmla="*/ 0 h 9"/>
                      <a:gd name="T30" fmla="*/ 8 w 11"/>
                      <a:gd name="T31" fmla="*/ 0 h 9"/>
                      <a:gd name="T32" fmla="*/ 9 w 11"/>
                      <a:gd name="T33" fmla="*/ 0 h 9"/>
                      <a:gd name="T34" fmla="*/ 10 w 11"/>
                      <a:gd name="T35" fmla="*/ 1 h 9"/>
                      <a:gd name="T36" fmla="*/ 11 w 11"/>
                      <a:gd name="T37" fmla="*/ 2 h 9"/>
                      <a:gd name="T38" fmla="*/ 11 w 11"/>
                      <a:gd name="T39" fmla="*/ 4 h 9"/>
                      <a:gd name="T40" fmla="*/ 10 w 11"/>
                      <a:gd name="T41" fmla="*/ 5 h 9"/>
                      <a:gd name="T42" fmla="*/ 9 w 11"/>
                      <a:gd name="T43" fmla="*/ 7 h 9"/>
                      <a:gd name="T44" fmla="*/ 8 w 11"/>
                      <a:gd name="T45" fmla="*/ 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 h="9">
                        <a:moveTo>
                          <a:pt x="8" y="8"/>
                        </a:moveTo>
                        <a:lnTo>
                          <a:pt x="7" y="8"/>
                        </a:lnTo>
                        <a:lnTo>
                          <a:pt x="5" y="9"/>
                        </a:lnTo>
                        <a:lnTo>
                          <a:pt x="4" y="9"/>
                        </a:lnTo>
                        <a:lnTo>
                          <a:pt x="3" y="9"/>
                        </a:lnTo>
                        <a:lnTo>
                          <a:pt x="2" y="9"/>
                        </a:lnTo>
                        <a:lnTo>
                          <a:pt x="1" y="8"/>
                        </a:lnTo>
                        <a:lnTo>
                          <a:pt x="0" y="7"/>
                        </a:lnTo>
                        <a:lnTo>
                          <a:pt x="0" y="5"/>
                        </a:lnTo>
                        <a:lnTo>
                          <a:pt x="1" y="4"/>
                        </a:lnTo>
                        <a:lnTo>
                          <a:pt x="1" y="3"/>
                        </a:lnTo>
                        <a:lnTo>
                          <a:pt x="3" y="2"/>
                        </a:lnTo>
                        <a:lnTo>
                          <a:pt x="4" y="1"/>
                        </a:lnTo>
                        <a:lnTo>
                          <a:pt x="5" y="0"/>
                        </a:lnTo>
                        <a:lnTo>
                          <a:pt x="7" y="0"/>
                        </a:lnTo>
                        <a:lnTo>
                          <a:pt x="8" y="0"/>
                        </a:lnTo>
                        <a:lnTo>
                          <a:pt x="9" y="0"/>
                        </a:lnTo>
                        <a:lnTo>
                          <a:pt x="10" y="1"/>
                        </a:lnTo>
                        <a:lnTo>
                          <a:pt x="11" y="2"/>
                        </a:lnTo>
                        <a:lnTo>
                          <a:pt x="11" y="4"/>
                        </a:lnTo>
                        <a:lnTo>
                          <a:pt x="10" y="5"/>
                        </a:lnTo>
                        <a:lnTo>
                          <a:pt x="9" y="7"/>
                        </a:lnTo>
                        <a:lnTo>
                          <a:pt x="8" y="8"/>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grpSp>
            <p:grpSp>
              <p:nvGrpSpPr>
                <p:cNvPr id="184" name="Groupe 42">
                  <a:extLst>
                    <a:ext uri="{FF2B5EF4-FFF2-40B4-BE49-F238E27FC236}">
                      <a16:creationId xmlns:a16="http://schemas.microsoft.com/office/drawing/2014/main" id="{F13DCB80-8E5C-4383-9A67-DB8F8D6F3323}"/>
                    </a:ext>
                  </a:extLst>
                </p:cNvPr>
                <p:cNvGrpSpPr>
                  <a:grpSpLocks/>
                </p:cNvGrpSpPr>
                <p:nvPr/>
              </p:nvGrpSpPr>
              <p:grpSpPr bwMode="auto">
                <a:xfrm rot="-10358823">
                  <a:off x="933450" y="2944813"/>
                  <a:ext cx="153988" cy="173037"/>
                  <a:chOff x="4339966" y="1005332"/>
                  <a:chExt cx="417989" cy="405152"/>
                </a:xfrm>
              </p:grpSpPr>
              <p:sp>
                <p:nvSpPr>
                  <p:cNvPr id="193" name="Freeform 328">
                    <a:extLst>
                      <a:ext uri="{FF2B5EF4-FFF2-40B4-BE49-F238E27FC236}">
                        <a16:creationId xmlns:a16="http://schemas.microsoft.com/office/drawing/2014/main" id="{5EBF9C9D-1159-4C60-8E2D-29FC63043056}"/>
                      </a:ext>
                    </a:extLst>
                  </p:cNvPr>
                  <p:cNvSpPr>
                    <a:spLocks/>
                  </p:cNvSpPr>
                  <p:nvPr/>
                </p:nvSpPr>
                <p:spPr bwMode="auto">
                  <a:xfrm rot="5400000">
                    <a:off x="4346385" y="998913"/>
                    <a:ext cx="405152" cy="417989"/>
                  </a:xfrm>
                  <a:custGeom>
                    <a:avLst/>
                    <a:gdLst>
                      <a:gd name="T0" fmla="*/ 27 w 31"/>
                      <a:gd name="T1" fmla="*/ 12 h 30"/>
                      <a:gd name="T2" fmla="*/ 26 w 31"/>
                      <a:gd name="T3" fmla="*/ 8 h 30"/>
                      <a:gd name="T4" fmla="*/ 19 w 31"/>
                      <a:gd name="T5" fmla="*/ 8 h 30"/>
                      <a:gd name="T6" fmla="*/ 8 w 31"/>
                      <a:gd name="T7" fmla="*/ 16 h 30"/>
                      <a:gd name="T8" fmla="*/ 5 w 31"/>
                      <a:gd name="T9" fmla="*/ 23 h 30"/>
                      <a:gd name="T10" fmla="*/ 8 w 31"/>
                      <a:gd name="T11" fmla="*/ 25 h 30"/>
                      <a:gd name="T12" fmla="*/ 7 w 31"/>
                      <a:gd name="T13" fmla="*/ 30 h 30"/>
                      <a:gd name="T14" fmla="*/ 0 w 31"/>
                      <a:gd name="T15" fmla="*/ 25 h 30"/>
                      <a:gd name="T16" fmla="*/ 1 w 31"/>
                      <a:gd name="T17" fmla="*/ 15 h 30"/>
                      <a:gd name="T18" fmla="*/ 6 w 31"/>
                      <a:gd name="T19" fmla="*/ 9 h 30"/>
                      <a:gd name="T20" fmla="*/ 16 w 31"/>
                      <a:gd name="T21" fmla="*/ 2 h 30"/>
                      <a:gd name="T22" fmla="*/ 22 w 31"/>
                      <a:gd name="T23" fmla="*/ 0 h 30"/>
                      <a:gd name="T24" fmla="*/ 30 w 31"/>
                      <a:gd name="T25" fmla="*/ 5 h 30"/>
                      <a:gd name="T26" fmla="*/ 31 w 31"/>
                      <a:gd name="T27" fmla="*/ 12 h 30"/>
                      <a:gd name="T28" fmla="*/ 27 w 31"/>
                      <a:gd name="T29" fmla="*/ 12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1" h="30">
                        <a:moveTo>
                          <a:pt x="27" y="12"/>
                        </a:moveTo>
                        <a:lnTo>
                          <a:pt x="26" y="8"/>
                        </a:lnTo>
                        <a:lnTo>
                          <a:pt x="19" y="8"/>
                        </a:lnTo>
                        <a:lnTo>
                          <a:pt x="8" y="16"/>
                        </a:lnTo>
                        <a:lnTo>
                          <a:pt x="5" y="23"/>
                        </a:lnTo>
                        <a:lnTo>
                          <a:pt x="8" y="25"/>
                        </a:lnTo>
                        <a:lnTo>
                          <a:pt x="7" y="30"/>
                        </a:lnTo>
                        <a:lnTo>
                          <a:pt x="0" y="25"/>
                        </a:lnTo>
                        <a:lnTo>
                          <a:pt x="1" y="15"/>
                        </a:lnTo>
                        <a:lnTo>
                          <a:pt x="6" y="9"/>
                        </a:lnTo>
                        <a:lnTo>
                          <a:pt x="16" y="2"/>
                        </a:lnTo>
                        <a:lnTo>
                          <a:pt x="22" y="0"/>
                        </a:lnTo>
                        <a:lnTo>
                          <a:pt x="30" y="5"/>
                        </a:lnTo>
                        <a:lnTo>
                          <a:pt x="31" y="12"/>
                        </a:lnTo>
                        <a:lnTo>
                          <a:pt x="27" y="12"/>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sp>
                <p:nvSpPr>
                  <p:cNvPr id="194" name="Freeform 331">
                    <a:extLst>
                      <a:ext uri="{FF2B5EF4-FFF2-40B4-BE49-F238E27FC236}">
                        <a16:creationId xmlns:a16="http://schemas.microsoft.com/office/drawing/2014/main" id="{327660CD-B455-4B71-B178-5081AA182166}"/>
                      </a:ext>
                    </a:extLst>
                  </p:cNvPr>
                  <p:cNvSpPr>
                    <a:spLocks/>
                  </p:cNvSpPr>
                  <p:nvPr/>
                </p:nvSpPr>
                <p:spPr bwMode="auto">
                  <a:xfrm rot="5400000">
                    <a:off x="4549519" y="1089500"/>
                    <a:ext cx="162489" cy="119796"/>
                  </a:xfrm>
                  <a:custGeom>
                    <a:avLst/>
                    <a:gdLst>
                      <a:gd name="T0" fmla="*/ 8 w 11"/>
                      <a:gd name="T1" fmla="*/ 8 h 9"/>
                      <a:gd name="T2" fmla="*/ 7 w 11"/>
                      <a:gd name="T3" fmla="*/ 8 h 9"/>
                      <a:gd name="T4" fmla="*/ 5 w 11"/>
                      <a:gd name="T5" fmla="*/ 9 h 9"/>
                      <a:gd name="T6" fmla="*/ 4 w 11"/>
                      <a:gd name="T7" fmla="*/ 9 h 9"/>
                      <a:gd name="T8" fmla="*/ 3 w 11"/>
                      <a:gd name="T9" fmla="*/ 9 h 9"/>
                      <a:gd name="T10" fmla="*/ 2 w 11"/>
                      <a:gd name="T11" fmla="*/ 9 h 9"/>
                      <a:gd name="T12" fmla="*/ 1 w 11"/>
                      <a:gd name="T13" fmla="*/ 8 h 9"/>
                      <a:gd name="T14" fmla="*/ 0 w 11"/>
                      <a:gd name="T15" fmla="*/ 7 h 9"/>
                      <a:gd name="T16" fmla="*/ 0 w 11"/>
                      <a:gd name="T17" fmla="*/ 5 h 9"/>
                      <a:gd name="T18" fmla="*/ 1 w 11"/>
                      <a:gd name="T19" fmla="*/ 4 h 9"/>
                      <a:gd name="T20" fmla="*/ 1 w 11"/>
                      <a:gd name="T21" fmla="*/ 3 h 9"/>
                      <a:gd name="T22" fmla="*/ 3 w 11"/>
                      <a:gd name="T23" fmla="*/ 2 h 9"/>
                      <a:gd name="T24" fmla="*/ 4 w 11"/>
                      <a:gd name="T25" fmla="*/ 1 h 9"/>
                      <a:gd name="T26" fmla="*/ 5 w 11"/>
                      <a:gd name="T27" fmla="*/ 0 h 9"/>
                      <a:gd name="T28" fmla="*/ 7 w 11"/>
                      <a:gd name="T29" fmla="*/ 0 h 9"/>
                      <a:gd name="T30" fmla="*/ 8 w 11"/>
                      <a:gd name="T31" fmla="*/ 0 h 9"/>
                      <a:gd name="T32" fmla="*/ 9 w 11"/>
                      <a:gd name="T33" fmla="*/ 0 h 9"/>
                      <a:gd name="T34" fmla="*/ 10 w 11"/>
                      <a:gd name="T35" fmla="*/ 1 h 9"/>
                      <a:gd name="T36" fmla="*/ 11 w 11"/>
                      <a:gd name="T37" fmla="*/ 2 h 9"/>
                      <a:gd name="T38" fmla="*/ 11 w 11"/>
                      <a:gd name="T39" fmla="*/ 4 h 9"/>
                      <a:gd name="T40" fmla="*/ 10 w 11"/>
                      <a:gd name="T41" fmla="*/ 5 h 9"/>
                      <a:gd name="T42" fmla="*/ 9 w 11"/>
                      <a:gd name="T43" fmla="*/ 7 h 9"/>
                      <a:gd name="T44" fmla="*/ 8 w 11"/>
                      <a:gd name="T45" fmla="*/ 8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 h="9">
                        <a:moveTo>
                          <a:pt x="8" y="8"/>
                        </a:moveTo>
                        <a:lnTo>
                          <a:pt x="7" y="8"/>
                        </a:lnTo>
                        <a:lnTo>
                          <a:pt x="5" y="9"/>
                        </a:lnTo>
                        <a:lnTo>
                          <a:pt x="4" y="9"/>
                        </a:lnTo>
                        <a:lnTo>
                          <a:pt x="3" y="9"/>
                        </a:lnTo>
                        <a:lnTo>
                          <a:pt x="2" y="9"/>
                        </a:lnTo>
                        <a:lnTo>
                          <a:pt x="1" y="8"/>
                        </a:lnTo>
                        <a:lnTo>
                          <a:pt x="0" y="7"/>
                        </a:lnTo>
                        <a:lnTo>
                          <a:pt x="0" y="5"/>
                        </a:lnTo>
                        <a:lnTo>
                          <a:pt x="1" y="4"/>
                        </a:lnTo>
                        <a:lnTo>
                          <a:pt x="1" y="3"/>
                        </a:lnTo>
                        <a:lnTo>
                          <a:pt x="3" y="2"/>
                        </a:lnTo>
                        <a:lnTo>
                          <a:pt x="4" y="1"/>
                        </a:lnTo>
                        <a:lnTo>
                          <a:pt x="5" y="0"/>
                        </a:lnTo>
                        <a:lnTo>
                          <a:pt x="7" y="0"/>
                        </a:lnTo>
                        <a:lnTo>
                          <a:pt x="8" y="0"/>
                        </a:lnTo>
                        <a:lnTo>
                          <a:pt x="9" y="0"/>
                        </a:lnTo>
                        <a:lnTo>
                          <a:pt x="10" y="1"/>
                        </a:lnTo>
                        <a:lnTo>
                          <a:pt x="11" y="2"/>
                        </a:lnTo>
                        <a:lnTo>
                          <a:pt x="11" y="4"/>
                        </a:lnTo>
                        <a:lnTo>
                          <a:pt x="10" y="5"/>
                        </a:lnTo>
                        <a:lnTo>
                          <a:pt x="9" y="7"/>
                        </a:lnTo>
                        <a:lnTo>
                          <a:pt x="8" y="8"/>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sz="1000"/>
                  </a:p>
                </p:txBody>
              </p:sp>
            </p:grpSp>
            <p:pic>
              <p:nvPicPr>
                <p:cNvPr id="185" name="Image 84">
                  <a:extLst>
                    <a:ext uri="{FF2B5EF4-FFF2-40B4-BE49-F238E27FC236}">
                      <a16:creationId xmlns:a16="http://schemas.microsoft.com/office/drawing/2014/main" id="{80D0482B-4058-4059-BE10-4A75100E7EC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8863" y="3114675"/>
                  <a:ext cx="112712"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6" name="Image 98">
                  <a:extLst>
                    <a:ext uri="{FF2B5EF4-FFF2-40B4-BE49-F238E27FC236}">
                      <a16:creationId xmlns:a16="http://schemas.microsoft.com/office/drawing/2014/main" id="{43687FC7-F924-40A8-95AA-4BB013DA0B98}"/>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28700" y="2493963"/>
                  <a:ext cx="93980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8" name="Flèche droite rayée 289">
                  <a:extLst>
                    <a:ext uri="{FF2B5EF4-FFF2-40B4-BE49-F238E27FC236}">
                      <a16:creationId xmlns:a16="http://schemas.microsoft.com/office/drawing/2014/main" id="{F1E78B3E-E8F6-4DF8-9E9A-76722F868484}"/>
                    </a:ext>
                  </a:extLst>
                </p:cNvPr>
                <p:cNvSpPr/>
                <p:nvPr/>
              </p:nvSpPr>
              <p:spPr>
                <a:xfrm>
                  <a:off x="2455863" y="2741613"/>
                  <a:ext cx="125412" cy="101600"/>
                </a:xfrm>
                <a:prstGeom prst="strip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p>
              </p:txBody>
            </p:sp>
            <p:sp>
              <p:nvSpPr>
                <p:cNvPr id="189" name="Flèche droite rayée 290">
                  <a:extLst>
                    <a:ext uri="{FF2B5EF4-FFF2-40B4-BE49-F238E27FC236}">
                      <a16:creationId xmlns:a16="http://schemas.microsoft.com/office/drawing/2014/main" id="{DA8020E8-43C0-4850-B62D-09BF5080E184}"/>
                    </a:ext>
                  </a:extLst>
                </p:cNvPr>
                <p:cNvSpPr/>
                <p:nvPr/>
              </p:nvSpPr>
              <p:spPr>
                <a:xfrm>
                  <a:off x="4232275" y="2819400"/>
                  <a:ext cx="125413" cy="101600"/>
                </a:xfrm>
                <a:prstGeom prst="strip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p>
              </p:txBody>
            </p:sp>
            <p:sp>
              <p:nvSpPr>
                <p:cNvPr id="191" name="Flèche droite rayée 292">
                  <a:extLst>
                    <a:ext uri="{FF2B5EF4-FFF2-40B4-BE49-F238E27FC236}">
                      <a16:creationId xmlns:a16="http://schemas.microsoft.com/office/drawing/2014/main" id="{233AFC97-1E29-4F70-984D-6B2BD7B81B8B}"/>
                    </a:ext>
                  </a:extLst>
                </p:cNvPr>
                <p:cNvSpPr/>
                <p:nvPr/>
              </p:nvSpPr>
              <p:spPr>
                <a:xfrm>
                  <a:off x="5891213" y="2832100"/>
                  <a:ext cx="125412" cy="101600"/>
                </a:xfrm>
                <a:prstGeom prst="strip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p>
              </p:txBody>
            </p:sp>
          </p:grpSp>
          <p:grpSp>
            <p:nvGrpSpPr>
              <p:cNvPr id="61" name="Group 60">
                <a:extLst>
                  <a:ext uri="{FF2B5EF4-FFF2-40B4-BE49-F238E27FC236}">
                    <a16:creationId xmlns:a16="http://schemas.microsoft.com/office/drawing/2014/main" id="{9CBDF1B9-A987-4D22-BF43-2B1C0679CBB4}"/>
                  </a:ext>
                </a:extLst>
              </p:cNvPr>
              <p:cNvGrpSpPr/>
              <p:nvPr/>
            </p:nvGrpSpPr>
            <p:grpSpPr>
              <a:xfrm rot="1501180">
                <a:off x="1363772" y="2369825"/>
                <a:ext cx="655729" cy="496025"/>
                <a:chOff x="1344521" y="3514000"/>
                <a:chExt cx="364144" cy="270892"/>
              </a:xfrm>
            </p:grpSpPr>
            <p:sp>
              <p:nvSpPr>
                <p:cNvPr id="148" name="Freeform 36">
                  <a:extLst>
                    <a:ext uri="{FF2B5EF4-FFF2-40B4-BE49-F238E27FC236}">
                      <a16:creationId xmlns:a16="http://schemas.microsoft.com/office/drawing/2014/main" id="{09DCCE2E-F883-4B98-8E3F-7972342B8147}"/>
                    </a:ext>
                  </a:extLst>
                </p:cNvPr>
                <p:cNvSpPr>
                  <a:spLocks/>
                </p:cNvSpPr>
                <p:nvPr/>
              </p:nvSpPr>
              <p:spPr bwMode="auto">
                <a:xfrm rot="2891457">
                  <a:off x="1391147" y="3467374"/>
                  <a:ext cx="270892" cy="364144"/>
                </a:xfrm>
                <a:custGeom>
                  <a:avLst/>
                  <a:gdLst>
                    <a:gd name="T0" fmla="*/ 15333 w 20000"/>
                    <a:gd name="T1" fmla="*/ 3594 h 20000"/>
                    <a:gd name="T2" fmla="*/ 11514 w 20000"/>
                    <a:gd name="T3" fmla="*/ 2673 h 20000"/>
                    <a:gd name="T4" fmla="*/ 6456 w 20000"/>
                    <a:gd name="T5" fmla="*/ 5945 h 20000"/>
                    <a:gd name="T6" fmla="*/ 6456 w 20000"/>
                    <a:gd name="T7" fmla="*/ 13779 h 20000"/>
                    <a:gd name="T8" fmla="*/ 11514 w 20000"/>
                    <a:gd name="T9" fmla="*/ 17143 h 20000"/>
                    <a:gd name="T10" fmla="*/ 15064 w 20000"/>
                    <a:gd name="T11" fmla="*/ 16590 h 20000"/>
                    <a:gd name="T12" fmla="*/ 18562 w 20000"/>
                    <a:gd name="T13" fmla="*/ 18664 h 20000"/>
                    <a:gd name="T14" fmla="*/ 9846 w 20000"/>
                    <a:gd name="T15" fmla="*/ 19954 h 20000"/>
                    <a:gd name="T16" fmla="*/ 1776 w 20000"/>
                    <a:gd name="T17" fmla="*/ 16359 h 20000"/>
                    <a:gd name="T18" fmla="*/ 0 w 20000"/>
                    <a:gd name="T19" fmla="*/ 12120 h 20000"/>
                    <a:gd name="T20" fmla="*/ 0 w 20000"/>
                    <a:gd name="T21" fmla="*/ 5392 h 20000"/>
                    <a:gd name="T22" fmla="*/ 1937 w 20000"/>
                    <a:gd name="T23" fmla="*/ 1843 h 20000"/>
                    <a:gd name="T24" fmla="*/ 11514 w 20000"/>
                    <a:gd name="T25" fmla="*/ 0 h 20000"/>
                    <a:gd name="T26" fmla="*/ 18562 w 20000"/>
                    <a:gd name="T27" fmla="*/ 1982 h 20000"/>
                    <a:gd name="T28" fmla="*/ 15333 w 20000"/>
                    <a:gd name="T29" fmla="*/ 3594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000" h="20000">
                      <a:moveTo>
                        <a:pt x="16474" y="3594"/>
                      </a:moveTo>
                      <a:lnTo>
                        <a:pt x="12370" y="2673"/>
                      </a:lnTo>
                      <a:lnTo>
                        <a:pt x="6936" y="5945"/>
                      </a:lnTo>
                      <a:lnTo>
                        <a:pt x="6936" y="13779"/>
                      </a:lnTo>
                      <a:lnTo>
                        <a:pt x="12370" y="17143"/>
                      </a:lnTo>
                      <a:lnTo>
                        <a:pt x="16185" y="16590"/>
                      </a:lnTo>
                      <a:lnTo>
                        <a:pt x="19942" y="18664"/>
                      </a:lnTo>
                      <a:lnTo>
                        <a:pt x="10578" y="19954"/>
                      </a:lnTo>
                      <a:lnTo>
                        <a:pt x="1908" y="16359"/>
                      </a:lnTo>
                      <a:lnTo>
                        <a:pt x="0" y="12120"/>
                      </a:lnTo>
                      <a:lnTo>
                        <a:pt x="0" y="5392"/>
                      </a:lnTo>
                      <a:lnTo>
                        <a:pt x="2081" y="1843"/>
                      </a:lnTo>
                      <a:lnTo>
                        <a:pt x="12370" y="0"/>
                      </a:lnTo>
                      <a:lnTo>
                        <a:pt x="19942" y="1982"/>
                      </a:lnTo>
                      <a:lnTo>
                        <a:pt x="16474" y="3594"/>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sp>
              <p:nvSpPr>
                <p:cNvPr id="149" name="Freeform 37">
                  <a:extLst>
                    <a:ext uri="{FF2B5EF4-FFF2-40B4-BE49-F238E27FC236}">
                      <a16:creationId xmlns:a16="http://schemas.microsoft.com/office/drawing/2014/main" id="{767BBA12-80E2-418B-88B3-FCC39B042E25}"/>
                    </a:ext>
                  </a:extLst>
                </p:cNvPr>
                <p:cNvSpPr>
                  <a:spLocks/>
                </p:cNvSpPr>
                <p:nvPr/>
              </p:nvSpPr>
              <p:spPr bwMode="auto">
                <a:xfrm rot="2891457">
                  <a:off x="1414869" y="3555664"/>
                  <a:ext cx="173375" cy="109619"/>
                </a:xfrm>
                <a:custGeom>
                  <a:avLst/>
                  <a:gdLst>
                    <a:gd name="T0" fmla="*/ 344 w 20000"/>
                    <a:gd name="T1" fmla="*/ 39 h 20000"/>
                    <a:gd name="T2" fmla="*/ 340 w 20000"/>
                    <a:gd name="T3" fmla="*/ 47 h 20000"/>
                    <a:gd name="T4" fmla="*/ 316 w 20000"/>
                    <a:gd name="T5" fmla="*/ 59 h 20000"/>
                    <a:gd name="T6" fmla="*/ 289 w 20000"/>
                    <a:gd name="T7" fmla="*/ 67 h 20000"/>
                    <a:gd name="T8" fmla="*/ 260 w 20000"/>
                    <a:gd name="T9" fmla="*/ 72 h 20000"/>
                    <a:gd name="T10" fmla="*/ 238 w 20000"/>
                    <a:gd name="T11" fmla="*/ 74 h 20000"/>
                    <a:gd name="T12" fmla="*/ 176 w 20000"/>
                    <a:gd name="T13" fmla="*/ 77 h 20000"/>
                    <a:gd name="T14" fmla="*/ 109 w 20000"/>
                    <a:gd name="T15" fmla="*/ 74 h 20000"/>
                    <a:gd name="T16" fmla="*/ 62 w 20000"/>
                    <a:gd name="T17" fmla="*/ 69 h 20000"/>
                    <a:gd name="T18" fmla="*/ 36 w 20000"/>
                    <a:gd name="T19" fmla="*/ 62 h 20000"/>
                    <a:gd name="T20" fmla="*/ 11 w 20000"/>
                    <a:gd name="T21" fmla="*/ 55 h 20000"/>
                    <a:gd name="T22" fmla="*/ 0 w 20000"/>
                    <a:gd name="T23" fmla="*/ 43 h 20000"/>
                    <a:gd name="T24" fmla="*/ 0 w 20000"/>
                    <a:gd name="T25" fmla="*/ 34 h 20000"/>
                    <a:gd name="T26" fmla="*/ 0 w 20000"/>
                    <a:gd name="T27" fmla="*/ 24 h 20000"/>
                    <a:gd name="T28" fmla="*/ 36 w 20000"/>
                    <a:gd name="T29" fmla="*/ 15 h 20000"/>
                    <a:gd name="T30" fmla="*/ 51 w 20000"/>
                    <a:gd name="T31" fmla="*/ 10 h 20000"/>
                    <a:gd name="T32" fmla="*/ 109 w 20000"/>
                    <a:gd name="T33" fmla="*/ 3 h 20000"/>
                    <a:gd name="T34" fmla="*/ 176 w 20000"/>
                    <a:gd name="T35" fmla="*/ 0 h 20000"/>
                    <a:gd name="T36" fmla="*/ 238 w 20000"/>
                    <a:gd name="T37" fmla="*/ 3 h 20000"/>
                    <a:gd name="T38" fmla="*/ 289 w 20000"/>
                    <a:gd name="T39" fmla="*/ 10 h 20000"/>
                    <a:gd name="T40" fmla="*/ 316 w 20000"/>
                    <a:gd name="T41" fmla="*/ 18 h 20000"/>
                    <a:gd name="T42" fmla="*/ 340 w 20000"/>
                    <a:gd name="T43" fmla="*/ 30 h 20000"/>
                    <a:gd name="T44" fmla="*/ 344 w 20000"/>
                    <a:gd name="T45" fmla="*/ 39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19872" y="9930"/>
                      </a:moveTo>
                      <a:lnTo>
                        <a:pt x="19615" y="12028"/>
                      </a:lnTo>
                      <a:lnTo>
                        <a:pt x="18205" y="15245"/>
                      </a:lnTo>
                      <a:lnTo>
                        <a:pt x="16667" y="17343"/>
                      </a:lnTo>
                      <a:lnTo>
                        <a:pt x="15000" y="18462"/>
                      </a:lnTo>
                      <a:lnTo>
                        <a:pt x="13718" y="19161"/>
                      </a:lnTo>
                      <a:lnTo>
                        <a:pt x="10128" y="19860"/>
                      </a:lnTo>
                      <a:lnTo>
                        <a:pt x="6282" y="19161"/>
                      </a:lnTo>
                      <a:lnTo>
                        <a:pt x="3590" y="17622"/>
                      </a:lnTo>
                      <a:lnTo>
                        <a:pt x="2051" y="15944"/>
                      </a:lnTo>
                      <a:lnTo>
                        <a:pt x="641" y="14126"/>
                      </a:lnTo>
                      <a:lnTo>
                        <a:pt x="0" y="10909"/>
                      </a:lnTo>
                      <a:lnTo>
                        <a:pt x="0" y="8811"/>
                      </a:lnTo>
                      <a:lnTo>
                        <a:pt x="0" y="6294"/>
                      </a:lnTo>
                      <a:lnTo>
                        <a:pt x="2051" y="3916"/>
                      </a:lnTo>
                      <a:lnTo>
                        <a:pt x="2949" y="2517"/>
                      </a:lnTo>
                      <a:lnTo>
                        <a:pt x="6282" y="699"/>
                      </a:lnTo>
                      <a:lnTo>
                        <a:pt x="10128" y="0"/>
                      </a:lnTo>
                      <a:lnTo>
                        <a:pt x="13718" y="699"/>
                      </a:lnTo>
                      <a:lnTo>
                        <a:pt x="16667" y="2517"/>
                      </a:lnTo>
                      <a:lnTo>
                        <a:pt x="18205" y="4615"/>
                      </a:lnTo>
                      <a:lnTo>
                        <a:pt x="19615" y="7832"/>
                      </a:lnTo>
                      <a:lnTo>
                        <a:pt x="19872" y="9930"/>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grpSp>
          <p:grpSp>
            <p:nvGrpSpPr>
              <p:cNvPr id="63" name="Group 62">
                <a:extLst>
                  <a:ext uri="{FF2B5EF4-FFF2-40B4-BE49-F238E27FC236}">
                    <a16:creationId xmlns:a16="http://schemas.microsoft.com/office/drawing/2014/main" id="{583C54D9-AE60-4CA6-B67F-4178FEB06861}"/>
                  </a:ext>
                </a:extLst>
              </p:cNvPr>
              <p:cNvGrpSpPr/>
              <p:nvPr/>
            </p:nvGrpSpPr>
            <p:grpSpPr>
              <a:xfrm rot="4196983">
                <a:off x="2467650" y="2415120"/>
                <a:ext cx="655729" cy="496025"/>
                <a:chOff x="1344521" y="3514000"/>
                <a:chExt cx="364144" cy="270892"/>
              </a:xfrm>
            </p:grpSpPr>
            <p:sp>
              <p:nvSpPr>
                <p:cNvPr id="146" name="Freeform 36">
                  <a:extLst>
                    <a:ext uri="{FF2B5EF4-FFF2-40B4-BE49-F238E27FC236}">
                      <a16:creationId xmlns:a16="http://schemas.microsoft.com/office/drawing/2014/main" id="{100D38AF-C9C2-458A-BE10-EF4B0A9C8ABE}"/>
                    </a:ext>
                  </a:extLst>
                </p:cNvPr>
                <p:cNvSpPr>
                  <a:spLocks/>
                </p:cNvSpPr>
                <p:nvPr/>
              </p:nvSpPr>
              <p:spPr bwMode="auto">
                <a:xfrm rot="2891457">
                  <a:off x="1391147" y="3467374"/>
                  <a:ext cx="270892" cy="364144"/>
                </a:xfrm>
                <a:custGeom>
                  <a:avLst/>
                  <a:gdLst>
                    <a:gd name="T0" fmla="*/ 15333 w 20000"/>
                    <a:gd name="T1" fmla="*/ 3594 h 20000"/>
                    <a:gd name="T2" fmla="*/ 11514 w 20000"/>
                    <a:gd name="T3" fmla="*/ 2673 h 20000"/>
                    <a:gd name="T4" fmla="*/ 6456 w 20000"/>
                    <a:gd name="T5" fmla="*/ 5945 h 20000"/>
                    <a:gd name="T6" fmla="*/ 6456 w 20000"/>
                    <a:gd name="T7" fmla="*/ 13779 h 20000"/>
                    <a:gd name="T8" fmla="*/ 11514 w 20000"/>
                    <a:gd name="T9" fmla="*/ 17143 h 20000"/>
                    <a:gd name="T10" fmla="*/ 15064 w 20000"/>
                    <a:gd name="T11" fmla="*/ 16590 h 20000"/>
                    <a:gd name="T12" fmla="*/ 18562 w 20000"/>
                    <a:gd name="T13" fmla="*/ 18664 h 20000"/>
                    <a:gd name="T14" fmla="*/ 9846 w 20000"/>
                    <a:gd name="T15" fmla="*/ 19954 h 20000"/>
                    <a:gd name="T16" fmla="*/ 1776 w 20000"/>
                    <a:gd name="T17" fmla="*/ 16359 h 20000"/>
                    <a:gd name="T18" fmla="*/ 0 w 20000"/>
                    <a:gd name="T19" fmla="*/ 12120 h 20000"/>
                    <a:gd name="T20" fmla="*/ 0 w 20000"/>
                    <a:gd name="T21" fmla="*/ 5392 h 20000"/>
                    <a:gd name="T22" fmla="*/ 1937 w 20000"/>
                    <a:gd name="T23" fmla="*/ 1843 h 20000"/>
                    <a:gd name="T24" fmla="*/ 11514 w 20000"/>
                    <a:gd name="T25" fmla="*/ 0 h 20000"/>
                    <a:gd name="T26" fmla="*/ 18562 w 20000"/>
                    <a:gd name="T27" fmla="*/ 1982 h 20000"/>
                    <a:gd name="T28" fmla="*/ 15333 w 20000"/>
                    <a:gd name="T29" fmla="*/ 3594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000" h="20000">
                      <a:moveTo>
                        <a:pt x="16474" y="3594"/>
                      </a:moveTo>
                      <a:lnTo>
                        <a:pt x="12370" y="2673"/>
                      </a:lnTo>
                      <a:lnTo>
                        <a:pt x="6936" y="5945"/>
                      </a:lnTo>
                      <a:lnTo>
                        <a:pt x="6936" y="13779"/>
                      </a:lnTo>
                      <a:lnTo>
                        <a:pt x="12370" y="17143"/>
                      </a:lnTo>
                      <a:lnTo>
                        <a:pt x="16185" y="16590"/>
                      </a:lnTo>
                      <a:lnTo>
                        <a:pt x="19942" y="18664"/>
                      </a:lnTo>
                      <a:lnTo>
                        <a:pt x="10578" y="19954"/>
                      </a:lnTo>
                      <a:lnTo>
                        <a:pt x="1908" y="16359"/>
                      </a:lnTo>
                      <a:lnTo>
                        <a:pt x="0" y="12120"/>
                      </a:lnTo>
                      <a:lnTo>
                        <a:pt x="0" y="5392"/>
                      </a:lnTo>
                      <a:lnTo>
                        <a:pt x="2081" y="1843"/>
                      </a:lnTo>
                      <a:lnTo>
                        <a:pt x="12370" y="0"/>
                      </a:lnTo>
                      <a:lnTo>
                        <a:pt x="19942" y="1982"/>
                      </a:lnTo>
                      <a:lnTo>
                        <a:pt x="16474" y="3594"/>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sp>
              <p:nvSpPr>
                <p:cNvPr id="147" name="Freeform 37">
                  <a:extLst>
                    <a:ext uri="{FF2B5EF4-FFF2-40B4-BE49-F238E27FC236}">
                      <a16:creationId xmlns:a16="http://schemas.microsoft.com/office/drawing/2014/main" id="{BCB69ABF-EE93-4490-B927-ADB1FB903C9D}"/>
                    </a:ext>
                  </a:extLst>
                </p:cNvPr>
                <p:cNvSpPr>
                  <a:spLocks/>
                </p:cNvSpPr>
                <p:nvPr/>
              </p:nvSpPr>
              <p:spPr bwMode="auto">
                <a:xfrm rot="2891457">
                  <a:off x="1414869" y="3555664"/>
                  <a:ext cx="173375" cy="109619"/>
                </a:xfrm>
                <a:custGeom>
                  <a:avLst/>
                  <a:gdLst>
                    <a:gd name="T0" fmla="*/ 344 w 20000"/>
                    <a:gd name="T1" fmla="*/ 39 h 20000"/>
                    <a:gd name="T2" fmla="*/ 340 w 20000"/>
                    <a:gd name="T3" fmla="*/ 47 h 20000"/>
                    <a:gd name="T4" fmla="*/ 316 w 20000"/>
                    <a:gd name="T5" fmla="*/ 59 h 20000"/>
                    <a:gd name="T6" fmla="*/ 289 w 20000"/>
                    <a:gd name="T7" fmla="*/ 67 h 20000"/>
                    <a:gd name="T8" fmla="*/ 260 w 20000"/>
                    <a:gd name="T9" fmla="*/ 72 h 20000"/>
                    <a:gd name="T10" fmla="*/ 238 w 20000"/>
                    <a:gd name="T11" fmla="*/ 74 h 20000"/>
                    <a:gd name="T12" fmla="*/ 176 w 20000"/>
                    <a:gd name="T13" fmla="*/ 77 h 20000"/>
                    <a:gd name="T14" fmla="*/ 109 w 20000"/>
                    <a:gd name="T15" fmla="*/ 74 h 20000"/>
                    <a:gd name="T16" fmla="*/ 62 w 20000"/>
                    <a:gd name="T17" fmla="*/ 69 h 20000"/>
                    <a:gd name="T18" fmla="*/ 36 w 20000"/>
                    <a:gd name="T19" fmla="*/ 62 h 20000"/>
                    <a:gd name="T20" fmla="*/ 11 w 20000"/>
                    <a:gd name="T21" fmla="*/ 55 h 20000"/>
                    <a:gd name="T22" fmla="*/ 0 w 20000"/>
                    <a:gd name="T23" fmla="*/ 43 h 20000"/>
                    <a:gd name="T24" fmla="*/ 0 w 20000"/>
                    <a:gd name="T25" fmla="*/ 34 h 20000"/>
                    <a:gd name="T26" fmla="*/ 0 w 20000"/>
                    <a:gd name="T27" fmla="*/ 24 h 20000"/>
                    <a:gd name="T28" fmla="*/ 36 w 20000"/>
                    <a:gd name="T29" fmla="*/ 15 h 20000"/>
                    <a:gd name="T30" fmla="*/ 51 w 20000"/>
                    <a:gd name="T31" fmla="*/ 10 h 20000"/>
                    <a:gd name="T32" fmla="*/ 109 w 20000"/>
                    <a:gd name="T33" fmla="*/ 3 h 20000"/>
                    <a:gd name="T34" fmla="*/ 176 w 20000"/>
                    <a:gd name="T35" fmla="*/ 0 h 20000"/>
                    <a:gd name="T36" fmla="*/ 238 w 20000"/>
                    <a:gd name="T37" fmla="*/ 3 h 20000"/>
                    <a:gd name="T38" fmla="*/ 289 w 20000"/>
                    <a:gd name="T39" fmla="*/ 10 h 20000"/>
                    <a:gd name="T40" fmla="*/ 316 w 20000"/>
                    <a:gd name="T41" fmla="*/ 18 h 20000"/>
                    <a:gd name="T42" fmla="*/ 340 w 20000"/>
                    <a:gd name="T43" fmla="*/ 30 h 20000"/>
                    <a:gd name="T44" fmla="*/ 344 w 20000"/>
                    <a:gd name="T45" fmla="*/ 39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19872" y="9930"/>
                      </a:moveTo>
                      <a:lnTo>
                        <a:pt x="19615" y="12028"/>
                      </a:lnTo>
                      <a:lnTo>
                        <a:pt x="18205" y="15245"/>
                      </a:lnTo>
                      <a:lnTo>
                        <a:pt x="16667" y="17343"/>
                      </a:lnTo>
                      <a:lnTo>
                        <a:pt x="15000" y="18462"/>
                      </a:lnTo>
                      <a:lnTo>
                        <a:pt x="13718" y="19161"/>
                      </a:lnTo>
                      <a:lnTo>
                        <a:pt x="10128" y="19860"/>
                      </a:lnTo>
                      <a:lnTo>
                        <a:pt x="6282" y="19161"/>
                      </a:lnTo>
                      <a:lnTo>
                        <a:pt x="3590" y="17622"/>
                      </a:lnTo>
                      <a:lnTo>
                        <a:pt x="2051" y="15944"/>
                      </a:lnTo>
                      <a:lnTo>
                        <a:pt x="641" y="14126"/>
                      </a:lnTo>
                      <a:lnTo>
                        <a:pt x="0" y="10909"/>
                      </a:lnTo>
                      <a:lnTo>
                        <a:pt x="0" y="8811"/>
                      </a:lnTo>
                      <a:lnTo>
                        <a:pt x="0" y="6294"/>
                      </a:lnTo>
                      <a:lnTo>
                        <a:pt x="2051" y="3916"/>
                      </a:lnTo>
                      <a:lnTo>
                        <a:pt x="2949" y="2517"/>
                      </a:lnTo>
                      <a:lnTo>
                        <a:pt x="6282" y="699"/>
                      </a:lnTo>
                      <a:lnTo>
                        <a:pt x="10128" y="0"/>
                      </a:lnTo>
                      <a:lnTo>
                        <a:pt x="13718" y="699"/>
                      </a:lnTo>
                      <a:lnTo>
                        <a:pt x="16667" y="2517"/>
                      </a:lnTo>
                      <a:lnTo>
                        <a:pt x="18205" y="4615"/>
                      </a:lnTo>
                      <a:lnTo>
                        <a:pt x="19615" y="7832"/>
                      </a:lnTo>
                      <a:lnTo>
                        <a:pt x="19872" y="9930"/>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grpSp>
          <p:grpSp>
            <p:nvGrpSpPr>
              <p:cNvPr id="85" name="Group 84">
                <a:extLst>
                  <a:ext uri="{FF2B5EF4-FFF2-40B4-BE49-F238E27FC236}">
                    <a16:creationId xmlns:a16="http://schemas.microsoft.com/office/drawing/2014/main" id="{B5F083F7-1397-498E-82E2-D372025A9A16}"/>
                  </a:ext>
                </a:extLst>
              </p:cNvPr>
              <p:cNvGrpSpPr/>
              <p:nvPr/>
            </p:nvGrpSpPr>
            <p:grpSpPr>
              <a:xfrm rot="15190801">
                <a:off x="1353100" y="4512896"/>
                <a:ext cx="655729" cy="496025"/>
                <a:chOff x="1344521" y="3514000"/>
                <a:chExt cx="364144" cy="270892"/>
              </a:xfrm>
            </p:grpSpPr>
            <p:sp>
              <p:nvSpPr>
                <p:cNvPr id="144" name="Freeform 36">
                  <a:extLst>
                    <a:ext uri="{FF2B5EF4-FFF2-40B4-BE49-F238E27FC236}">
                      <a16:creationId xmlns:a16="http://schemas.microsoft.com/office/drawing/2014/main" id="{225EA12D-BE25-4A28-924E-F32A0A767207}"/>
                    </a:ext>
                  </a:extLst>
                </p:cNvPr>
                <p:cNvSpPr>
                  <a:spLocks/>
                </p:cNvSpPr>
                <p:nvPr/>
              </p:nvSpPr>
              <p:spPr bwMode="auto">
                <a:xfrm rot="2891457">
                  <a:off x="1391147" y="3467374"/>
                  <a:ext cx="270892" cy="364144"/>
                </a:xfrm>
                <a:custGeom>
                  <a:avLst/>
                  <a:gdLst>
                    <a:gd name="T0" fmla="*/ 15333 w 20000"/>
                    <a:gd name="T1" fmla="*/ 3594 h 20000"/>
                    <a:gd name="T2" fmla="*/ 11514 w 20000"/>
                    <a:gd name="T3" fmla="*/ 2673 h 20000"/>
                    <a:gd name="T4" fmla="*/ 6456 w 20000"/>
                    <a:gd name="T5" fmla="*/ 5945 h 20000"/>
                    <a:gd name="T6" fmla="*/ 6456 w 20000"/>
                    <a:gd name="T7" fmla="*/ 13779 h 20000"/>
                    <a:gd name="T8" fmla="*/ 11514 w 20000"/>
                    <a:gd name="T9" fmla="*/ 17143 h 20000"/>
                    <a:gd name="T10" fmla="*/ 15064 w 20000"/>
                    <a:gd name="T11" fmla="*/ 16590 h 20000"/>
                    <a:gd name="T12" fmla="*/ 18562 w 20000"/>
                    <a:gd name="T13" fmla="*/ 18664 h 20000"/>
                    <a:gd name="T14" fmla="*/ 9846 w 20000"/>
                    <a:gd name="T15" fmla="*/ 19954 h 20000"/>
                    <a:gd name="T16" fmla="*/ 1776 w 20000"/>
                    <a:gd name="T17" fmla="*/ 16359 h 20000"/>
                    <a:gd name="T18" fmla="*/ 0 w 20000"/>
                    <a:gd name="T19" fmla="*/ 12120 h 20000"/>
                    <a:gd name="T20" fmla="*/ 0 w 20000"/>
                    <a:gd name="T21" fmla="*/ 5392 h 20000"/>
                    <a:gd name="T22" fmla="*/ 1937 w 20000"/>
                    <a:gd name="T23" fmla="*/ 1843 h 20000"/>
                    <a:gd name="T24" fmla="*/ 11514 w 20000"/>
                    <a:gd name="T25" fmla="*/ 0 h 20000"/>
                    <a:gd name="T26" fmla="*/ 18562 w 20000"/>
                    <a:gd name="T27" fmla="*/ 1982 h 20000"/>
                    <a:gd name="T28" fmla="*/ 15333 w 20000"/>
                    <a:gd name="T29" fmla="*/ 3594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000" h="20000">
                      <a:moveTo>
                        <a:pt x="16474" y="3594"/>
                      </a:moveTo>
                      <a:lnTo>
                        <a:pt x="12370" y="2673"/>
                      </a:lnTo>
                      <a:lnTo>
                        <a:pt x="6936" y="5945"/>
                      </a:lnTo>
                      <a:lnTo>
                        <a:pt x="6936" y="13779"/>
                      </a:lnTo>
                      <a:lnTo>
                        <a:pt x="12370" y="17143"/>
                      </a:lnTo>
                      <a:lnTo>
                        <a:pt x="16185" y="16590"/>
                      </a:lnTo>
                      <a:lnTo>
                        <a:pt x="19942" y="18664"/>
                      </a:lnTo>
                      <a:lnTo>
                        <a:pt x="10578" y="19954"/>
                      </a:lnTo>
                      <a:lnTo>
                        <a:pt x="1908" y="16359"/>
                      </a:lnTo>
                      <a:lnTo>
                        <a:pt x="0" y="12120"/>
                      </a:lnTo>
                      <a:lnTo>
                        <a:pt x="0" y="5392"/>
                      </a:lnTo>
                      <a:lnTo>
                        <a:pt x="2081" y="1843"/>
                      </a:lnTo>
                      <a:lnTo>
                        <a:pt x="12370" y="0"/>
                      </a:lnTo>
                      <a:lnTo>
                        <a:pt x="19942" y="1982"/>
                      </a:lnTo>
                      <a:lnTo>
                        <a:pt x="16474" y="3594"/>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sp>
              <p:nvSpPr>
                <p:cNvPr id="145" name="Freeform 37">
                  <a:extLst>
                    <a:ext uri="{FF2B5EF4-FFF2-40B4-BE49-F238E27FC236}">
                      <a16:creationId xmlns:a16="http://schemas.microsoft.com/office/drawing/2014/main" id="{EA4AEE8A-ADDB-45F0-B18A-7464DF7EFF79}"/>
                    </a:ext>
                  </a:extLst>
                </p:cNvPr>
                <p:cNvSpPr>
                  <a:spLocks/>
                </p:cNvSpPr>
                <p:nvPr/>
              </p:nvSpPr>
              <p:spPr bwMode="auto">
                <a:xfrm rot="2891457">
                  <a:off x="1414869" y="3555664"/>
                  <a:ext cx="173375" cy="109619"/>
                </a:xfrm>
                <a:custGeom>
                  <a:avLst/>
                  <a:gdLst>
                    <a:gd name="T0" fmla="*/ 344 w 20000"/>
                    <a:gd name="T1" fmla="*/ 39 h 20000"/>
                    <a:gd name="T2" fmla="*/ 340 w 20000"/>
                    <a:gd name="T3" fmla="*/ 47 h 20000"/>
                    <a:gd name="T4" fmla="*/ 316 w 20000"/>
                    <a:gd name="T5" fmla="*/ 59 h 20000"/>
                    <a:gd name="T6" fmla="*/ 289 w 20000"/>
                    <a:gd name="T7" fmla="*/ 67 h 20000"/>
                    <a:gd name="T8" fmla="*/ 260 w 20000"/>
                    <a:gd name="T9" fmla="*/ 72 h 20000"/>
                    <a:gd name="T10" fmla="*/ 238 w 20000"/>
                    <a:gd name="T11" fmla="*/ 74 h 20000"/>
                    <a:gd name="T12" fmla="*/ 176 w 20000"/>
                    <a:gd name="T13" fmla="*/ 77 h 20000"/>
                    <a:gd name="T14" fmla="*/ 109 w 20000"/>
                    <a:gd name="T15" fmla="*/ 74 h 20000"/>
                    <a:gd name="T16" fmla="*/ 62 w 20000"/>
                    <a:gd name="T17" fmla="*/ 69 h 20000"/>
                    <a:gd name="T18" fmla="*/ 36 w 20000"/>
                    <a:gd name="T19" fmla="*/ 62 h 20000"/>
                    <a:gd name="T20" fmla="*/ 11 w 20000"/>
                    <a:gd name="T21" fmla="*/ 55 h 20000"/>
                    <a:gd name="T22" fmla="*/ 0 w 20000"/>
                    <a:gd name="T23" fmla="*/ 43 h 20000"/>
                    <a:gd name="T24" fmla="*/ 0 w 20000"/>
                    <a:gd name="T25" fmla="*/ 34 h 20000"/>
                    <a:gd name="T26" fmla="*/ 0 w 20000"/>
                    <a:gd name="T27" fmla="*/ 24 h 20000"/>
                    <a:gd name="T28" fmla="*/ 36 w 20000"/>
                    <a:gd name="T29" fmla="*/ 15 h 20000"/>
                    <a:gd name="T30" fmla="*/ 51 w 20000"/>
                    <a:gd name="T31" fmla="*/ 10 h 20000"/>
                    <a:gd name="T32" fmla="*/ 109 w 20000"/>
                    <a:gd name="T33" fmla="*/ 3 h 20000"/>
                    <a:gd name="T34" fmla="*/ 176 w 20000"/>
                    <a:gd name="T35" fmla="*/ 0 h 20000"/>
                    <a:gd name="T36" fmla="*/ 238 w 20000"/>
                    <a:gd name="T37" fmla="*/ 3 h 20000"/>
                    <a:gd name="T38" fmla="*/ 289 w 20000"/>
                    <a:gd name="T39" fmla="*/ 10 h 20000"/>
                    <a:gd name="T40" fmla="*/ 316 w 20000"/>
                    <a:gd name="T41" fmla="*/ 18 h 20000"/>
                    <a:gd name="T42" fmla="*/ 340 w 20000"/>
                    <a:gd name="T43" fmla="*/ 30 h 20000"/>
                    <a:gd name="T44" fmla="*/ 344 w 20000"/>
                    <a:gd name="T45" fmla="*/ 39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19872" y="9930"/>
                      </a:moveTo>
                      <a:lnTo>
                        <a:pt x="19615" y="12028"/>
                      </a:lnTo>
                      <a:lnTo>
                        <a:pt x="18205" y="15245"/>
                      </a:lnTo>
                      <a:lnTo>
                        <a:pt x="16667" y="17343"/>
                      </a:lnTo>
                      <a:lnTo>
                        <a:pt x="15000" y="18462"/>
                      </a:lnTo>
                      <a:lnTo>
                        <a:pt x="13718" y="19161"/>
                      </a:lnTo>
                      <a:lnTo>
                        <a:pt x="10128" y="19860"/>
                      </a:lnTo>
                      <a:lnTo>
                        <a:pt x="6282" y="19161"/>
                      </a:lnTo>
                      <a:lnTo>
                        <a:pt x="3590" y="17622"/>
                      </a:lnTo>
                      <a:lnTo>
                        <a:pt x="2051" y="15944"/>
                      </a:lnTo>
                      <a:lnTo>
                        <a:pt x="641" y="14126"/>
                      </a:lnTo>
                      <a:lnTo>
                        <a:pt x="0" y="10909"/>
                      </a:lnTo>
                      <a:lnTo>
                        <a:pt x="0" y="8811"/>
                      </a:lnTo>
                      <a:lnTo>
                        <a:pt x="0" y="6294"/>
                      </a:lnTo>
                      <a:lnTo>
                        <a:pt x="2051" y="3916"/>
                      </a:lnTo>
                      <a:lnTo>
                        <a:pt x="2949" y="2517"/>
                      </a:lnTo>
                      <a:lnTo>
                        <a:pt x="6282" y="699"/>
                      </a:lnTo>
                      <a:lnTo>
                        <a:pt x="10128" y="0"/>
                      </a:lnTo>
                      <a:lnTo>
                        <a:pt x="13718" y="699"/>
                      </a:lnTo>
                      <a:lnTo>
                        <a:pt x="16667" y="2517"/>
                      </a:lnTo>
                      <a:lnTo>
                        <a:pt x="18205" y="4615"/>
                      </a:lnTo>
                      <a:lnTo>
                        <a:pt x="19615" y="7832"/>
                      </a:lnTo>
                      <a:lnTo>
                        <a:pt x="19872" y="9930"/>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grpSp>
          <p:grpSp>
            <p:nvGrpSpPr>
              <p:cNvPr id="86" name="Group 85">
                <a:extLst>
                  <a:ext uri="{FF2B5EF4-FFF2-40B4-BE49-F238E27FC236}">
                    <a16:creationId xmlns:a16="http://schemas.microsoft.com/office/drawing/2014/main" id="{24FCDA8B-2853-4974-A142-04287BC4EBEB}"/>
                  </a:ext>
                </a:extLst>
              </p:cNvPr>
              <p:cNvGrpSpPr/>
              <p:nvPr/>
            </p:nvGrpSpPr>
            <p:grpSpPr>
              <a:xfrm rot="12152634">
                <a:off x="6785400" y="4602369"/>
                <a:ext cx="655729" cy="496025"/>
                <a:chOff x="1344521" y="3514000"/>
                <a:chExt cx="364144" cy="270892"/>
              </a:xfrm>
            </p:grpSpPr>
            <p:sp>
              <p:nvSpPr>
                <p:cNvPr id="142" name="Freeform 36">
                  <a:extLst>
                    <a:ext uri="{FF2B5EF4-FFF2-40B4-BE49-F238E27FC236}">
                      <a16:creationId xmlns:a16="http://schemas.microsoft.com/office/drawing/2014/main" id="{D40C6C86-1111-411D-AA56-14A0380127E5}"/>
                    </a:ext>
                  </a:extLst>
                </p:cNvPr>
                <p:cNvSpPr>
                  <a:spLocks/>
                </p:cNvSpPr>
                <p:nvPr/>
              </p:nvSpPr>
              <p:spPr bwMode="auto">
                <a:xfrm rot="2891457">
                  <a:off x="1391147" y="3467374"/>
                  <a:ext cx="270892" cy="364144"/>
                </a:xfrm>
                <a:custGeom>
                  <a:avLst/>
                  <a:gdLst>
                    <a:gd name="T0" fmla="*/ 15333 w 20000"/>
                    <a:gd name="T1" fmla="*/ 3594 h 20000"/>
                    <a:gd name="T2" fmla="*/ 11514 w 20000"/>
                    <a:gd name="T3" fmla="*/ 2673 h 20000"/>
                    <a:gd name="T4" fmla="*/ 6456 w 20000"/>
                    <a:gd name="T5" fmla="*/ 5945 h 20000"/>
                    <a:gd name="T6" fmla="*/ 6456 w 20000"/>
                    <a:gd name="T7" fmla="*/ 13779 h 20000"/>
                    <a:gd name="T8" fmla="*/ 11514 w 20000"/>
                    <a:gd name="T9" fmla="*/ 17143 h 20000"/>
                    <a:gd name="T10" fmla="*/ 15064 w 20000"/>
                    <a:gd name="T11" fmla="*/ 16590 h 20000"/>
                    <a:gd name="T12" fmla="*/ 18562 w 20000"/>
                    <a:gd name="T13" fmla="*/ 18664 h 20000"/>
                    <a:gd name="T14" fmla="*/ 9846 w 20000"/>
                    <a:gd name="T15" fmla="*/ 19954 h 20000"/>
                    <a:gd name="T16" fmla="*/ 1776 w 20000"/>
                    <a:gd name="T17" fmla="*/ 16359 h 20000"/>
                    <a:gd name="T18" fmla="*/ 0 w 20000"/>
                    <a:gd name="T19" fmla="*/ 12120 h 20000"/>
                    <a:gd name="T20" fmla="*/ 0 w 20000"/>
                    <a:gd name="T21" fmla="*/ 5392 h 20000"/>
                    <a:gd name="T22" fmla="*/ 1937 w 20000"/>
                    <a:gd name="T23" fmla="*/ 1843 h 20000"/>
                    <a:gd name="T24" fmla="*/ 11514 w 20000"/>
                    <a:gd name="T25" fmla="*/ 0 h 20000"/>
                    <a:gd name="T26" fmla="*/ 18562 w 20000"/>
                    <a:gd name="T27" fmla="*/ 1982 h 20000"/>
                    <a:gd name="T28" fmla="*/ 15333 w 20000"/>
                    <a:gd name="T29" fmla="*/ 3594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000" h="20000">
                      <a:moveTo>
                        <a:pt x="16474" y="3594"/>
                      </a:moveTo>
                      <a:lnTo>
                        <a:pt x="12370" y="2673"/>
                      </a:lnTo>
                      <a:lnTo>
                        <a:pt x="6936" y="5945"/>
                      </a:lnTo>
                      <a:lnTo>
                        <a:pt x="6936" y="13779"/>
                      </a:lnTo>
                      <a:lnTo>
                        <a:pt x="12370" y="17143"/>
                      </a:lnTo>
                      <a:lnTo>
                        <a:pt x="16185" y="16590"/>
                      </a:lnTo>
                      <a:lnTo>
                        <a:pt x="19942" y="18664"/>
                      </a:lnTo>
                      <a:lnTo>
                        <a:pt x="10578" y="19954"/>
                      </a:lnTo>
                      <a:lnTo>
                        <a:pt x="1908" y="16359"/>
                      </a:lnTo>
                      <a:lnTo>
                        <a:pt x="0" y="12120"/>
                      </a:lnTo>
                      <a:lnTo>
                        <a:pt x="0" y="5392"/>
                      </a:lnTo>
                      <a:lnTo>
                        <a:pt x="2081" y="1843"/>
                      </a:lnTo>
                      <a:lnTo>
                        <a:pt x="12370" y="0"/>
                      </a:lnTo>
                      <a:lnTo>
                        <a:pt x="19942" y="1982"/>
                      </a:lnTo>
                      <a:lnTo>
                        <a:pt x="16474" y="3594"/>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sp>
              <p:nvSpPr>
                <p:cNvPr id="143" name="Freeform 37">
                  <a:extLst>
                    <a:ext uri="{FF2B5EF4-FFF2-40B4-BE49-F238E27FC236}">
                      <a16:creationId xmlns:a16="http://schemas.microsoft.com/office/drawing/2014/main" id="{E05F2CD1-0498-4EC7-8AAC-E88887454BC5}"/>
                    </a:ext>
                  </a:extLst>
                </p:cNvPr>
                <p:cNvSpPr>
                  <a:spLocks/>
                </p:cNvSpPr>
                <p:nvPr/>
              </p:nvSpPr>
              <p:spPr bwMode="auto">
                <a:xfrm rot="2891457">
                  <a:off x="1414869" y="3555664"/>
                  <a:ext cx="173375" cy="109619"/>
                </a:xfrm>
                <a:custGeom>
                  <a:avLst/>
                  <a:gdLst>
                    <a:gd name="T0" fmla="*/ 344 w 20000"/>
                    <a:gd name="T1" fmla="*/ 39 h 20000"/>
                    <a:gd name="T2" fmla="*/ 340 w 20000"/>
                    <a:gd name="T3" fmla="*/ 47 h 20000"/>
                    <a:gd name="T4" fmla="*/ 316 w 20000"/>
                    <a:gd name="T5" fmla="*/ 59 h 20000"/>
                    <a:gd name="T6" fmla="*/ 289 w 20000"/>
                    <a:gd name="T7" fmla="*/ 67 h 20000"/>
                    <a:gd name="T8" fmla="*/ 260 w 20000"/>
                    <a:gd name="T9" fmla="*/ 72 h 20000"/>
                    <a:gd name="T10" fmla="*/ 238 w 20000"/>
                    <a:gd name="T11" fmla="*/ 74 h 20000"/>
                    <a:gd name="T12" fmla="*/ 176 w 20000"/>
                    <a:gd name="T13" fmla="*/ 77 h 20000"/>
                    <a:gd name="T14" fmla="*/ 109 w 20000"/>
                    <a:gd name="T15" fmla="*/ 74 h 20000"/>
                    <a:gd name="T16" fmla="*/ 62 w 20000"/>
                    <a:gd name="T17" fmla="*/ 69 h 20000"/>
                    <a:gd name="T18" fmla="*/ 36 w 20000"/>
                    <a:gd name="T19" fmla="*/ 62 h 20000"/>
                    <a:gd name="T20" fmla="*/ 11 w 20000"/>
                    <a:gd name="T21" fmla="*/ 55 h 20000"/>
                    <a:gd name="T22" fmla="*/ 0 w 20000"/>
                    <a:gd name="T23" fmla="*/ 43 h 20000"/>
                    <a:gd name="T24" fmla="*/ 0 w 20000"/>
                    <a:gd name="T25" fmla="*/ 34 h 20000"/>
                    <a:gd name="T26" fmla="*/ 0 w 20000"/>
                    <a:gd name="T27" fmla="*/ 24 h 20000"/>
                    <a:gd name="T28" fmla="*/ 36 w 20000"/>
                    <a:gd name="T29" fmla="*/ 15 h 20000"/>
                    <a:gd name="T30" fmla="*/ 51 w 20000"/>
                    <a:gd name="T31" fmla="*/ 10 h 20000"/>
                    <a:gd name="T32" fmla="*/ 109 w 20000"/>
                    <a:gd name="T33" fmla="*/ 3 h 20000"/>
                    <a:gd name="T34" fmla="*/ 176 w 20000"/>
                    <a:gd name="T35" fmla="*/ 0 h 20000"/>
                    <a:gd name="T36" fmla="*/ 238 w 20000"/>
                    <a:gd name="T37" fmla="*/ 3 h 20000"/>
                    <a:gd name="T38" fmla="*/ 289 w 20000"/>
                    <a:gd name="T39" fmla="*/ 10 h 20000"/>
                    <a:gd name="T40" fmla="*/ 316 w 20000"/>
                    <a:gd name="T41" fmla="*/ 18 h 20000"/>
                    <a:gd name="T42" fmla="*/ 340 w 20000"/>
                    <a:gd name="T43" fmla="*/ 30 h 20000"/>
                    <a:gd name="T44" fmla="*/ 344 w 20000"/>
                    <a:gd name="T45" fmla="*/ 39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19872" y="9930"/>
                      </a:moveTo>
                      <a:lnTo>
                        <a:pt x="19615" y="12028"/>
                      </a:lnTo>
                      <a:lnTo>
                        <a:pt x="18205" y="15245"/>
                      </a:lnTo>
                      <a:lnTo>
                        <a:pt x="16667" y="17343"/>
                      </a:lnTo>
                      <a:lnTo>
                        <a:pt x="15000" y="18462"/>
                      </a:lnTo>
                      <a:lnTo>
                        <a:pt x="13718" y="19161"/>
                      </a:lnTo>
                      <a:lnTo>
                        <a:pt x="10128" y="19860"/>
                      </a:lnTo>
                      <a:lnTo>
                        <a:pt x="6282" y="19161"/>
                      </a:lnTo>
                      <a:lnTo>
                        <a:pt x="3590" y="17622"/>
                      </a:lnTo>
                      <a:lnTo>
                        <a:pt x="2051" y="15944"/>
                      </a:lnTo>
                      <a:lnTo>
                        <a:pt x="641" y="14126"/>
                      </a:lnTo>
                      <a:lnTo>
                        <a:pt x="0" y="10909"/>
                      </a:lnTo>
                      <a:lnTo>
                        <a:pt x="0" y="8811"/>
                      </a:lnTo>
                      <a:lnTo>
                        <a:pt x="0" y="6294"/>
                      </a:lnTo>
                      <a:lnTo>
                        <a:pt x="2051" y="3916"/>
                      </a:lnTo>
                      <a:lnTo>
                        <a:pt x="2949" y="2517"/>
                      </a:lnTo>
                      <a:lnTo>
                        <a:pt x="6282" y="699"/>
                      </a:lnTo>
                      <a:lnTo>
                        <a:pt x="10128" y="0"/>
                      </a:lnTo>
                      <a:lnTo>
                        <a:pt x="13718" y="699"/>
                      </a:lnTo>
                      <a:lnTo>
                        <a:pt x="16667" y="2517"/>
                      </a:lnTo>
                      <a:lnTo>
                        <a:pt x="18205" y="4615"/>
                      </a:lnTo>
                      <a:lnTo>
                        <a:pt x="19615" y="7832"/>
                      </a:lnTo>
                      <a:lnTo>
                        <a:pt x="19872" y="9930"/>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grpSp>
          <p:grpSp>
            <p:nvGrpSpPr>
              <p:cNvPr id="87" name="Group 86">
                <a:extLst>
                  <a:ext uri="{FF2B5EF4-FFF2-40B4-BE49-F238E27FC236}">
                    <a16:creationId xmlns:a16="http://schemas.microsoft.com/office/drawing/2014/main" id="{A22590DA-31A3-4E7B-8779-EDF62AF87A76}"/>
                  </a:ext>
                </a:extLst>
              </p:cNvPr>
              <p:cNvGrpSpPr/>
              <p:nvPr/>
            </p:nvGrpSpPr>
            <p:grpSpPr>
              <a:xfrm rot="13471214">
                <a:off x="3861549" y="4576700"/>
                <a:ext cx="655729" cy="496025"/>
                <a:chOff x="1344521" y="3514000"/>
                <a:chExt cx="364144" cy="270892"/>
              </a:xfrm>
            </p:grpSpPr>
            <p:sp>
              <p:nvSpPr>
                <p:cNvPr id="140" name="Freeform 36">
                  <a:extLst>
                    <a:ext uri="{FF2B5EF4-FFF2-40B4-BE49-F238E27FC236}">
                      <a16:creationId xmlns:a16="http://schemas.microsoft.com/office/drawing/2014/main" id="{E538AE4E-8BFC-4D9B-B519-DE0662E1976D}"/>
                    </a:ext>
                  </a:extLst>
                </p:cNvPr>
                <p:cNvSpPr>
                  <a:spLocks/>
                </p:cNvSpPr>
                <p:nvPr/>
              </p:nvSpPr>
              <p:spPr bwMode="auto">
                <a:xfrm rot="2891457">
                  <a:off x="1391147" y="3467374"/>
                  <a:ext cx="270892" cy="364144"/>
                </a:xfrm>
                <a:custGeom>
                  <a:avLst/>
                  <a:gdLst>
                    <a:gd name="T0" fmla="*/ 15333 w 20000"/>
                    <a:gd name="T1" fmla="*/ 3594 h 20000"/>
                    <a:gd name="T2" fmla="*/ 11514 w 20000"/>
                    <a:gd name="T3" fmla="*/ 2673 h 20000"/>
                    <a:gd name="T4" fmla="*/ 6456 w 20000"/>
                    <a:gd name="T5" fmla="*/ 5945 h 20000"/>
                    <a:gd name="T6" fmla="*/ 6456 w 20000"/>
                    <a:gd name="T7" fmla="*/ 13779 h 20000"/>
                    <a:gd name="T8" fmla="*/ 11514 w 20000"/>
                    <a:gd name="T9" fmla="*/ 17143 h 20000"/>
                    <a:gd name="T10" fmla="*/ 15064 w 20000"/>
                    <a:gd name="T11" fmla="*/ 16590 h 20000"/>
                    <a:gd name="T12" fmla="*/ 18562 w 20000"/>
                    <a:gd name="T13" fmla="*/ 18664 h 20000"/>
                    <a:gd name="T14" fmla="*/ 9846 w 20000"/>
                    <a:gd name="T15" fmla="*/ 19954 h 20000"/>
                    <a:gd name="T16" fmla="*/ 1776 w 20000"/>
                    <a:gd name="T17" fmla="*/ 16359 h 20000"/>
                    <a:gd name="T18" fmla="*/ 0 w 20000"/>
                    <a:gd name="T19" fmla="*/ 12120 h 20000"/>
                    <a:gd name="T20" fmla="*/ 0 w 20000"/>
                    <a:gd name="T21" fmla="*/ 5392 h 20000"/>
                    <a:gd name="T22" fmla="*/ 1937 w 20000"/>
                    <a:gd name="T23" fmla="*/ 1843 h 20000"/>
                    <a:gd name="T24" fmla="*/ 11514 w 20000"/>
                    <a:gd name="T25" fmla="*/ 0 h 20000"/>
                    <a:gd name="T26" fmla="*/ 18562 w 20000"/>
                    <a:gd name="T27" fmla="*/ 1982 h 20000"/>
                    <a:gd name="T28" fmla="*/ 15333 w 20000"/>
                    <a:gd name="T29" fmla="*/ 3594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000" h="20000">
                      <a:moveTo>
                        <a:pt x="16474" y="3594"/>
                      </a:moveTo>
                      <a:lnTo>
                        <a:pt x="12370" y="2673"/>
                      </a:lnTo>
                      <a:lnTo>
                        <a:pt x="6936" y="5945"/>
                      </a:lnTo>
                      <a:lnTo>
                        <a:pt x="6936" y="13779"/>
                      </a:lnTo>
                      <a:lnTo>
                        <a:pt x="12370" y="17143"/>
                      </a:lnTo>
                      <a:lnTo>
                        <a:pt x="16185" y="16590"/>
                      </a:lnTo>
                      <a:lnTo>
                        <a:pt x="19942" y="18664"/>
                      </a:lnTo>
                      <a:lnTo>
                        <a:pt x="10578" y="19954"/>
                      </a:lnTo>
                      <a:lnTo>
                        <a:pt x="1908" y="16359"/>
                      </a:lnTo>
                      <a:lnTo>
                        <a:pt x="0" y="12120"/>
                      </a:lnTo>
                      <a:lnTo>
                        <a:pt x="0" y="5392"/>
                      </a:lnTo>
                      <a:lnTo>
                        <a:pt x="2081" y="1843"/>
                      </a:lnTo>
                      <a:lnTo>
                        <a:pt x="12370" y="0"/>
                      </a:lnTo>
                      <a:lnTo>
                        <a:pt x="19942" y="1982"/>
                      </a:lnTo>
                      <a:lnTo>
                        <a:pt x="16474" y="3594"/>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sp>
              <p:nvSpPr>
                <p:cNvPr id="141" name="Freeform 37">
                  <a:extLst>
                    <a:ext uri="{FF2B5EF4-FFF2-40B4-BE49-F238E27FC236}">
                      <a16:creationId xmlns:a16="http://schemas.microsoft.com/office/drawing/2014/main" id="{073FDE85-02BE-4335-8222-D8806AADA4D2}"/>
                    </a:ext>
                  </a:extLst>
                </p:cNvPr>
                <p:cNvSpPr>
                  <a:spLocks/>
                </p:cNvSpPr>
                <p:nvPr/>
              </p:nvSpPr>
              <p:spPr bwMode="auto">
                <a:xfrm rot="2891457">
                  <a:off x="1414869" y="3555664"/>
                  <a:ext cx="173375" cy="109619"/>
                </a:xfrm>
                <a:custGeom>
                  <a:avLst/>
                  <a:gdLst>
                    <a:gd name="T0" fmla="*/ 344 w 20000"/>
                    <a:gd name="T1" fmla="*/ 39 h 20000"/>
                    <a:gd name="T2" fmla="*/ 340 w 20000"/>
                    <a:gd name="T3" fmla="*/ 47 h 20000"/>
                    <a:gd name="T4" fmla="*/ 316 w 20000"/>
                    <a:gd name="T5" fmla="*/ 59 h 20000"/>
                    <a:gd name="T6" fmla="*/ 289 w 20000"/>
                    <a:gd name="T7" fmla="*/ 67 h 20000"/>
                    <a:gd name="T8" fmla="*/ 260 w 20000"/>
                    <a:gd name="T9" fmla="*/ 72 h 20000"/>
                    <a:gd name="T10" fmla="*/ 238 w 20000"/>
                    <a:gd name="T11" fmla="*/ 74 h 20000"/>
                    <a:gd name="T12" fmla="*/ 176 w 20000"/>
                    <a:gd name="T13" fmla="*/ 77 h 20000"/>
                    <a:gd name="T14" fmla="*/ 109 w 20000"/>
                    <a:gd name="T15" fmla="*/ 74 h 20000"/>
                    <a:gd name="T16" fmla="*/ 62 w 20000"/>
                    <a:gd name="T17" fmla="*/ 69 h 20000"/>
                    <a:gd name="T18" fmla="*/ 36 w 20000"/>
                    <a:gd name="T19" fmla="*/ 62 h 20000"/>
                    <a:gd name="T20" fmla="*/ 11 w 20000"/>
                    <a:gd name="T21" fmla="*/ 55 h 20000"/>
                    <a:gd name="T22" fmla="*/ 0 w 20000"/>
                    <a:gd name="T23" fmla="*/ 43 h 20000"/>
                    <a:gd name="T24" fmla="*/ 0 w 20000"/>
                    <a:gd name="T25" fmla="*/ 34 h 20000"/>
                    <a:gd name="T26" fmla="*/ 0 w 20000"/>
                    <a:gd name="T27" fmla="*/ 24 h 20000"/>
                    <a:gd name="T28" fmla="*/ 36 w 20000"/>
                    <a:gd name="T29" fmla="*/ 15 h 20000"/>
                    <a:gd name="T30" fmla="*/ 51 w 20000"/>
                    <a:gd name="T31" fmla="*/ 10 h 20000"/>
                    <a:gd name="T32" fmla="*/ 109 w 20000"/>
                    <a:gd name="T33" fmla="*/ 3 h 20000"/>
                    <a:gd name="T34" fmla="*/ 176 w 20000"/>
                    <a:gd name="T35" fmla="*/ 0 h 20000"/>
                    <a:gd name="T36" fmla="*/ 238 w 20000"/>
                    <a:gd name="T37" fmla="*/ 3 h 20000"/>
                    <a:gd name="T38" fmla="*/ 289 w 20000"/>
                    <a:gd name="T39" fmla="*/ 10 h 20000"/>
                    <a:gd name="T40" fmla="*/ 316 w 20000"/>
                    <a:gd name="T41" fmla="*/ 18 h 20000"/>
                    <a:gd name="T42" fmla="*/ 340 w 20000"/>
                    <a:gd name="T43" fmla="*/ 30 h 20000"/>
                    <a:gd name="T44" fmla="*/ 344 w 20000"/>
                    <a:gd name="T45" fmla="*/ 39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19872" y="9930"/>
                      </a:moveTo>
                      <a:lnTo>
                        <a:pt x="19615" y="12028"/>
                      </a:lnTo>
                      <a:lnTo>
                        <a:pt x="18205" y="15245"/>
                      </a:lnTo>
                      <a:lnTo>
                        <a:pt x="16667" y="17343"/>
                      </a:lnTo>
                      <a:lnTo>
                        <a:pt x="15000" y="18462"/>
                      </a:lnTo>
                      <a:lnTo>
                        <a:pt x="13718" y="19161"/>
                      </a:lnTo>
                      <a:lnTo>
                        <a:pt x="10128" y="19860"/>
                      </a:lnTo>
                      <a:lnTo>
                        <a:pt x="6282" y="19161"/>
                      </a:lnTo>
                      <a:lnTo>
                        <a:pt x="3590" y="17622"/>
                      </a:lnTo>
                      <a:lnTo>
                        <a:pt x="2051" y="15944"/>
                      </a:lnTo>
                      <a:lnTo>
                        <a:pt x="641" y="14126"/>
                      </a:lnTo>
                      <a:lnTo>
                        <a:pt x="0" y="10909"/>
                      </a:lnTo>
                      <a:lnTo>
                        <a:pt x="0" y="8811"/>
                      </a:lnTo>
                      <a:lnTo>
                        <a:pt x="0" y="6294"/>
                      </a:lnTo>
                      <a:lnTo>
                        <a:pt x="2051" y="3916"/>
                      </a:lnTo>
                      <a:lnTo>
                        <a:pt x="2949" y="2517"/>
                      </a:lnTo>
                      <a:lnTo>
                        <a:pt x="6282" y="699"/>
                      </a:lnTo>
                      <a:lnTo>
                        <a:pt x="10128" y="0"/>
                      </a:lnTo>
                      <a:lnTo>
                        <a:pt x="13718" y="699"/>
                      </a:lnTo>
                      <a:lnTo>
                        <a:pt x="16667" y="2517"/>
                      </a:lnTo>
                      <a:lnTo>
                        <a:pt x="18205" y="4615"/>
                      </a:lnTo>
                      <a:lnTo>
                        <a:pt x="19615" y="7832"/>
                      </a:lnTo>
                      <a:lnTo>
                        <a:pt x="19872" y="9930"/>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grpSp>
          <p:grpSp>
            <p:nvGrpSpPr>
              <p:cNvPr id="88" name="Group 87">
                <a:extLst>
                  <a:ext uri="{FF2B5EF4-FFF2-40B4-BE49-F238E27FC236}">
                    <a16:creationId xmlns:a16="http://schemas.microsoft.com/office/drawing/2014/main" id="{EA8743D2-FC25-43E1-8ED2-19CF347BAA11}"/>
                  </a:ext>
                </a:extLst>
              </p:cNvPr>
              <p:cNvGrpSpPr/>
              <p:nvPr/>
            </p:nvGrpSpPr>
            <p:grpSpPr>
              <a:xfrm rot="1086100">
                <a:off x="5276727" y="2644429"/>
                <a:ext cx="655729" cy="496025"/>
                <a:chOff x="1344521" y="3514000"/>
                <a:chExt cx="364144" cy="270892"/>
              </a:xfrm>
            </p:grpSpPr>
            <p:sp>
              <p:nvSpPr>
                <p:cNvPr id="138" name="Freeform 36">
                  <a:extLst>
                    <a:ext uri="{FF2B5EF4-FFF2-40B4-BE49-F238E27FC236}">
                      <a16:creationId xmlns:a16="http://schemas.microsoft.com/office/drawing/2014/main" id="{49B747CD-FA2A-40B0-80AB-09B0BC790628}"/>
                    </a:ext>
                  </a:extLst>
                </p:cNvPr>
                <p:cNvSpPr>
                  <a:spLocks/>
                </p:cNvSpPr>
                <p:nvPr/>
              </p:nvSpPr>
              <p:spPr bwMode="auto">
                <a:xfrm rot="2891457">
                  <a:off x="1391147" y="3467374"/>
                  <a:ext cx="270892" cy="364144"/>
                </a:xfrm>
                <a:custGeom>
                  <a:avLst/>
                  <a:gdLst>
                    <a:gd name="T0" fmla="*/ 15333 w 20000"/>
                    <a:gd name="T1" fmla="*/ 3594 h 20000"/>
                    <a:gd name="T2" fmla="*/ 11514 w 20000"/>
                    <a:gd name="T3" fmla="*/ 2673 h 20000"/>
                    <a:gd name="T4" fmla="*/ 6456 w 20000"/>
                    <a:gd name="T5" fmla="*/ 5945 h 20000"/>
                    <a:gd name="T6" fmla="*/ 6456 w 20000"/>
                    <a:gd name="T7" fmla="*/ 13779 h 20000"/>
                    <a:gd name="T8" fmla="*/ 11514 w 20000"/>
                    <a:gd name="T9" fmla="*/ 17143 h 20000"/>
                    <a:gd name="T10" fmla="*/ 15064 w 20000"/>
                    <a:gd name="T11" fmla="*/ 16590 h 20000"/>
                    <a:gd name="T12" fmla="*/ 18562 w 20000"/>
                    <a:gd name="T13" fmla="*/ 18664 h 20000"/>
                    <a:gd name="T14" fmla="*/ 9846 w 20000"/>
                    <a:gd name="T15" fmla="*/ 19954 h 20000"/>
                    <a:gd name="T16" fmla="*/ 1776 w 20000"/>
                    <a:gd name="T17" fmla="*/ 16359 h 20000"/>
                    <a:gd name="T18" fmla="*/ 0 w 20000"/>
                    <a:gd name="T19" fmla="*/ 12120 h 20000"/>
                    <a:gd name="T20" fmla="*/ 0 w 20000"/>
                    <a:gd name="T21" fmla="*/ 5392 h 20000"/>
                    <a:gd name="T22" fmla="*/ 1937 w 20000"/>
                    <a:gd name="T23" fmla="*/ 1843 h 20000"/>
                    <a:gd name="T24" fmla="*/ 11514 w 20000"/>
                    <a:gd name="T25" fmla="*/ 0 h 20000"/>
                    <a:gd name="T26" fmla="*/ 18562 w 20000"/>
                    <a:gd name="T27" fmla="*/ 1982 h 20000"/>
                    <a:gd name="T28" fmla="*/ 15333 w 20000"/>
                    <a:gd name="T29" fmla="*/ 3594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000" h="20000">
                      <a:moveTo>
                        <a:pt x="16474" y="3594"/>
                      </a:moveTo>
                      <a:lnTo>
                        <a:pt x="12370" y="2673"/>
                      </a:lnTo>
                      <a:lnTo>
                        <a:pt x="6936" y="5945"/>
                      </a:lnTo>
                      <a:lnTo>
                        <a:pt x="6936" y="13779"/>
                      </a:lnTo>
                      <a:lnTo>
                        <a:pt x="12370" y="17143"/>
                      </a:lnTo>
                      <a:lnTo>
                        <a:pt x="16185" y="16590"/>
                      </a:lnTo>
                      <a:lnTo>
                        <a:pt x="19942" y="18664"/>
                      </a:lnTo>
                      <a:lnTo>
                        <a:pt x="10578" y="19954"/>
                      </a:lnTo>
                      <a:lnTo>
                        <a:pt x="1908" y="16359"/>
                      </a:lnTo>
                      <a:lnTo>
                        <a:pt x="0" y="12120"/>
                      </a:lnTo>
                      <a:lnTo>
                        <a:pt x="0" y="5392"/>
                      </a:lnTo>
                      <a:lnTo>
                        <a:pt x="2081" y="1843"/>
                      </a:lnTo>
                      <a:lnTo>
                        <a:pt x="12370" y="0"/>
                      </a:lnTo>
                      <a:lnTo>
                        <a:pt x="19942" y="1982"/>
                      </a:lnTo>
                      <a:lnTo>
                        <a:pt x="16474" y="3594"/>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sp>
              <p:nvSpPr>
                <p:cNvPr id="139" name="Freeform 37">
                  <a:extLst>
                    <a:ext uri="{FF2B5EF4-FFF2-40B4-BE49-F238E27FC236}">
                      <a16:creationId xmlns:a16="http://schemas.microsoft.com/office/drawing/2014/main" id="{2B23F32D-1274-4BCE-A322-EC57B0665A2A}"/>
                    </a:ext>
                  </a:extLst>
                </p:cNvPr>
                <p:cNvSpPr>
                  <a:spLocks/>
                </p:cNvSpPr>
                <p:nvPr/>
              </p:nvSpPr>
              <p:spPr bwMode="auto">
                <a:xfrm rot="2891457">
                  <a:off x="1414869" y="3555664"/>
                  <a:ext cx="173375" cy="109619"/>
                </a:xfrm>
                <a:custGeom>
                  <a:avLst/>
                  <a:gdLst>
                    <a:gd name="T0" fmla="*/ 344 w 20000"/>
                    <a:gd name="T1" fmla="*/ 39 h 20000"/>
                    <a:gd name="T2" fmla="*/ 340 w 20000"/>
                    <a:gd name="T3" fmla="*/ 47 h 20000"/>
                    <a:gd name="T4" fmla="*/ 316 w 20000"/>
                    <a:gd name="T5" fmla="*/ 59 h 20000"/>
                    <a:gd name="T6" fmla="*/ 289 w 20000"/>
                    <a:gd name="T7" fmla="*/ 67 h 20000"/>
                    <a:gd name="T8" fmla="*/ 260 w 20000"/>
                    <a:gd name="T9" fmla="*/ 72 h 20000"/>
                    <a:gd name="T10" fmla="*/ 238 w 20000"/>
                    <a:gd name="T11" fmla="*/ 74 h 20000"/>
                    <a:gd name="T12" fmla="*/ 176 w 20000"/>
                    <a:gd name="T13" fmla="*/ 77 h 20000"/>
                    <a:gd name="T14" fmla="*/ 109 w 20000"/>
                    <a:gd name="T15" fmla="*/ 74 h 20000"/>
                    <a:gd name="T16" fmla="*/ 62 w 20000"/>
                    <a:gd name="T17" fmla="*/ 69 h 20000"/>
                    <a:gd name="T18" fmla="*/ 36 w 20000"/>
                    <a:gd name="T19" fmla="*/ 62 h 20000"/>
                    <a:gd name="T20" fmla="*/ 11 w 20000"/>
                    <a:gd name="T21" fmla="*/ 55 h 20000"/>
                    <a:gd name="T22" fmla="*/ 0 w 20000"/>
                    <a:gd name="T23" fmla="*/ 43 h 20000"/>
                    <a:gd name="T24" fmla="*/ 0 w 20000"/>
                    <a:gd name="T25" fmla="*/ 34 h 20000"/>
                    <a:gd name="T26" fmla="*/ 0 w 20000"/>
                    <a:gd name="T27" fmla="*/ 24 h 20000"/>
                    <a:gd name="T28" fmla="*/ 36 w 20000"/>
                    <a:gd name="T29" fmla="*/ 15 h 20000"/>
                    <a:gd name="T30" fmla="*/ 51 w 20000"/>
                    <a:gd name="T31" fmla="*/ 10 h 20000"/>
                    <a:gd name="T32" fmla="*/ 109 w 20000"/>
                    <a:gd name="T33" fmla="*/ 3 h 20000"/>
                    <a:gd name="T34" fmla="*/ 176 w 20000"/>
                    <a:gd name="T35" fmla="*/ 0 h 20000"/>
                    <a:gd name="T36" fmla="*/ 238 w 20000"/>
                    <a:gd name="T37" fmla="*/ 3 h 20000"/>
                    <a:gd name="T38" fmla="*/ 289 w 20000"/>
                    <a:gd name="T39" fmla="*/ 10 h 20000"/>
                    <a:gd name="T40" fmla="*/ 316 w 20000"/>
                    <a:gd name="T41" fmla="*/ 18 h 20000"/>
                    <a:gd name="T42" fmla="*/ 340 w 20000"/>
                    <a:gd name="T43" fmla="*/ 30 h 20000"/>
                    <a:gd name="T44" fmla="*/ 344 w 20000"/>
                    <a:gd name="T45" fmla="*/ 39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19872" y="9930"/>
                      </a:moveTo>
                      <a:lnTo>
                        <a:pt x="19615" y="12028"/>
                      </a:lnTo>
                      <a:lnTo>
                        <a:pt x="18205" y="15245"/>
                      </a:lnTo>
                      <a:lnTo>
                        <a:pt x="16667" y="17343"/>
                      </a:lnTo>
                      <a:lnTo>
                        <a:pt x="15000" y="18462"/>
                      </a:lnTo>
                      <a:lnTo>
                        <a:pt x="13718" y="19161"/>
                      </a:lnTo>
                      <a:lnTo>
                        <a:pt x="10128" y="19860"/>
                      </a:lnTo>
                      <a:lnTo>
                        <a:pt x="6282" y="19161"/>
                      </a:lnTo>
                      <a:lnTo>
                        <a:pt x="3590" y="17622"/>
                      </a:lnTo>
                      <a:lnTo>
                        <a:pt x="2051" y="15944"/>
                      </a:lnTo>
                      <a:lnTo>
                        <a:pt x="641" y="14126"/>
                      </a:lnTo>
                      <a:lnTo>
                        <a:pt x="0" y="10909"/>
                      </a:lnTo>
                      <a:lnTo>
                        <a:pt x="0" y="8811"/>
                      </a:lnTo>
                      <a:lnTo>
                        <a:pt x="0" y="6294"/>
                      </a:lnTo>
                      <a:lnTo>
                        <a:pt x="2051" y="3916"/>
                      </a:lnTo>
                      <a:lnTo>
                        <a:pt x="2949" y="2517"/>
                      </a:lnTo>
                      <a:lnTo>
                        <a:pt x="6282" y="699"/>
                      </a:lnTo>
                      <a:lnTo>
                        <a:pt x="10128" y="0"/>
                      </a:lnTo>
                      <a:lnTo>
                        <a:pt x="13718" y="699"/>
                      </a:lnTo>
                      <a:lnTo>
                        <a:pt x="16667" y="2517"/>
                      </a:lnTo>
                      <a:lnTo>
                        <a:pt x="18205" y="4615"/>
                      </a:lnTo>
                      <a:lnTo>
                        <a:pt x="19615" y="7832"/>
                      </a:lnTo>
                      <a:lnTo>
                        <a:pt x="19872" y="9930"/>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grpSp>
          <p:grpSp>
            <p:nvGrpSpPr>
              <p:cNvPr id="89" name="Group 88">
                <a:extLst>
                  <a:ext uri="{FF2B5EF4-FFF2-40B4-BE49-F238E27FC236}">
                    <a16:creationId xmlns:a16="http://schemas.microsoft.com/office/drawing/2014/main" id="{D7E2E26D-6112-4E76-87B4-4106000040F1}"/>
                  </a:ext>
                </a:extLst>
              </p:cNvPr>
              <p:cNvGrpSpPr/>
              <p:nvPr/>
            </p:nvGrpSpPr>
            <p:grpSpPr>
              <a:xfrm rot="4404681">
                <a:off x="6960536" y="2624680"/>
                <a:ext cx="655729" cy="496025"/>
                <a:chOff x="1344521" y="3514000"/>
                <a:chExt cx="364144" cy="270892"/>
              </a:xfrm>
            </p:grpSpPr>
            <p:sp>
              <p:nvSpPr>
                <p:cNvPr id="136" name="Freeform 36">
                  <a:extLst>
                    <a:ext uri="{FF2B5EF4-FFF2-40B4-BE49-F238E27FC236}">
                      <a16:creationId xmlns:a16="http://schemas.microsoft.com/office/drawing/2014/main" id="{4D0E0BC0-EE67-4C9A-9E9D-3854B18F3173}"/>
                    </a:ext>
                  </a:extLst>
                </p:cNvPr>
                <p:cNvSpPr>
                  <a:spLocks/>
                </p:cNvSpPr>
                <p:nvPr/>
              </p:nvSpPr>
              <p:spPr bwMode="auto">
                <a:xfrm rot="2891457">
                  <a:off x="1391147" y="3467374"/>
                  <a:ext cx="270892" cy="364144"/>
                </a:xfrm>
                <a:custGeom>
                  <a:avLst/>
                  <a:gdLst>
                    <a:gd name="T0" fmla="*/ 15333 w 20000"/>
                    <a:gd name="T1" fmla="*/ 3594 h 20000"/>
                    <a:gd name="T2" fmla="*/ 11514 w 20000"/>
                    <a:gd name="T3" fmla="*/ 2673 h 20000"/>
                    <a:gd name="T4" fmla="*/ 6456 w 20000"/>
                    <a:gd name="T5" fmla="*/ 5945 h 20000"/>
                    <a:gd name="T6" fmla="*/ 6456 w 20000"/>
                    <a:gd name="T7" fmla="*/ 13779 h 20000"/>
                    <a:gd name="T8" fmla="*/ 11514 w 20000"/>
                    <a:gd name="T9" fmla="*/ 17143 h 20000"/>
                    <a:gd name="T10" fmla="*/ 15064 w 20000"/>
                    <a:gd name="T11" fmla="*/ 16590 h 20000"/>
                    <a:gd name="T12" fmla="*/ 18562 w 20000"/>
                    <a:gd name="T13" fmla="*/ 18664 h 20000"/>
                    <a:gd name="T14" fmla="*/ 9846 w 20000"/>
                    <a:gd name="T15" fmla="*/ 19954 h 20000"/>
                    <a:gd name="T16" fmla="*/ 1776 w 20000"/>
                    <a:gd name="T17" fmla="*/ 16359 h 20000"/>
                    <a:gd name="T18" fmla="*/ 0 w 20000"/>
                    <a:gd name="T19" fmla="*/ 12120 h 20000"/>
                    <a:gd name="T20" fmla="*/ 0 w 20000"/>
                    <a:gd name="T21" fmla="*/ 5392 h 20000"/>
                    <a:gd name="T22" fmla="*/ 1937 w 20000"/>
                    <a:gd name="T23" fmla="*/ 1843 h 20000"/>
                    <a:gd name="T24" fmla="*/ 11514 w 20000"/>
                    <a:gd name="T25" fmla="*/ 0 h 20000"/>
                    <a:gd name="T26" fmla="*/ 18562 w 20000"/>
                    <a:gd name="T27" fmla="*/ 1982 h 20000"/>
                    <a:gd name="T28" fmla="*/ 15333 w 20000"/>
                    <a:gd name="T29" fmla="*/ 3594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000" h="20000">
                      <a:moveTo>
                        <a:pt x="16474" y="3594"/>
                      </a:moveTo>
                      <a:lnTo>
                        <a:pt x="12370" y="2673"/>
                      </a:lnTo>
                      <a:lnTo>
                        <a:pt x="6936" y="5945"/>
                      </a:lnTo>
                      <a:lnTo>
                        <a:pt x="6936" y="13779"/>
                      </a:lnTo>
                      <a:lnTo>
                        <a:pt x="12370" y="17143"/>
                      </a:lnTo>
                      <a:lnTo>
                        <a:pt x="16185" y="16590"/>
                      </a:lnTo>
                      <a:lnTo>
                        <a:pt x="19942" y="18664"/>
                      </a:lnTo>
                      <a:lnTo>
                        <a:pt x="10578" y="19954"/>
                      </a:lnTo>
                      <a:lnTo>
                        <a:pt x="1908" y="16359"/>
                      </a:lnTo>
                      <a:lnTo>
                        <a:pt x="0" y="12120"/>
                      </a:lnTo>
                      <a:lnTo>
                        <a:pt x="0" y="5392"/>
                      </a:lnTo>
                      <a:lnTo>
                        <a:pt x="2081" y="1843"/>
                      </a:lnTo>
                      <a:lnTo>
                        <a:pt x="12370" y="0"/>
                      </a:lnTo>
                      <a:lnTo>
                        <a:pt x="19942" y="1982"/>
                      </a:lnTo>
                      <a:lnTo>
                        <a:pt x="16474" y="3594"/>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sp>
              <p:nvSpPr>
                <p:cNvPr id="137" name="Freeform 37">
                  <a:extLst>
                    <a:ext uri="{FF2B5EF4-FFF2-40B4-BE49-F238E27FC236}">
                      <a16:creationId xmlns:a16="http://schemas.microsoft.com/office/drawing/2014/main" id="{39459311-418E-4DDE-876B-4E52CEBD3CDC}"/>
                    </a:ext>
                  </a:extLst>
                </p:cNvPr>
                <p:cNvSpPr>
                  <a:spLocks/>
                </p:cNvSpPr>
                <p:nvPr/>
              </p:nvSpPr>
              <p:spPr bwMode="auto">
                <a:xfrm rot="2891457">
                  <a:off x="1414869" y="3555664"/>
                  <a:ext cx="173375" cy="109619"/>
                </a:xfrm>
                <a:custGeom>
                  <a:avLst/>
                  <a:gdLst>
                    <a:gd name="T0" fmla="*/ 344 w 20000"/>
                    <a:gd name="T1" fmla="*/ 39 h 20000"/>
                    <a:gd name="T2" fmla="*/ 340 w 20000"/>
                    <a:gd name="T3" fmla="*/ 47 h 20000"/>
                    <a:gd name="T4" fmla="*/ 316 w 20000"/>
                    <a:gd name="T5" fmla="*/ 59 h 20000"/>
                    <a:gd name="T6" fmla="*/ 289 w 20000"/>
                    <a:gd name="T7" fmla="*/ 67 h 20000"/>
                    <a:gd name="T8" fmla="*/ 260 w 20000"/>
                    <a:gd name="T9" fmla="*/ 72 h 20000"/>
                    <a:gd name="T10" fmla="*/ 238 w 20000"/>
                    <a:gd name="T11" fmla="*/ 74 h 20000"/>
                    <a:gd name="T12" fmla="*/ 176 w 20000"/>
                    <a:gd name="T13" fmla="*/ 77 h 20000"/>
                    <a:gd name="T14" fmla="*/ 109 w 20000"/>
                    <a:gd name="T15" fmla="*/ 74 h 20000"/>
                    <a:gd name="T16" fmla="*/ 62 w 20000"/>
                    <a:gd name="T17" fmla="*/ 69 h 20000"/>
                    <a:gd name="T18" fmla="*/ 36 w 20000"/>
                    <a:gd name="T19" fmla="*/ 62 h 20000"/>
                    <a:gd name="T20" fmla="*/ 11 w 20000"/>
                    <a:gd name="T21" fmla="*/ 55 h 20000"/>
                    <a:gd name="T22" fmla="*/ 0 w 20000"/>
                    <a:gd name="T23" fmla="*/ 43 h 20000"/>
                    <a:gd name="T24" fmla="*/ 0 w 20000"/>
                    <a:gd name="T25" fmla="*/ 34 h 20000"/>
                    <a:gd name="T26" fmla="*/ 0 w 20000"/>
                    <a:gd name="T27" fmla="*/ 24 h 20000"/>
                    <a:gd name="T28" fmla="*/ 36 w 20000"/>
                    <a:gd name="T29" fmla="*/ 15 h 20000"/>
                    <a:gd name="T30" fmla="*/ 51 w 20000"/>
                    <a:gd name="T31" fmla="*/ 10 h 20000"/>
                    <a:gd name="T32" fmla="*/ 109 w 20000"/>
                    <a:gd name="T33" fmla="*/ 3 h 20000"/>
                    <a:gd name="T34" fmla="*/ 176 w 20000"/>
                    <a:gd name="T35" fmla="*/ 0 h 20000"/>
                    <a:gd name="T36" fmla="*/ 238 w 20000"/>
                    <a:gd name="T37" fmla="*/ 3 h 20000"/>
                    <a:gd name="T38" fmla="*/ 289 w 20000"/>
                    <a:gd name="T39" fmla="*/ 10 h 20000"/>
                    <a:gd name="T40" fmla="*/ 316 w 20000"/>
                    <a:gd name="T41" fmla="*/ 18 h 20000"/>
                    <a:gd name="T42" fmla="*/ 340 w 20000"/>
                    <a:gd name="T43" fmla="*/ 30 h 20000"/>
                    <a:gd name="T44" fmla="*/ 344 w 20000"/>
                    <a:gd name="T45" fmla="*/ 39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19872" y="9930"/>
                      </a:moveTo>
                      <a:lnTo>
                        <a:pt x="19615" y="12028"/>
                      </a:lnTo>
                      <a:lnTo>
                        <a:pt x="18205" y="15245"/>
                      </a:lnTo>
                      <a:lnTo>
                        <a:pt x="16667" y="17343"/>
                      </a:lnTo>
                      <a:lnTo>
                        <a:pt x="15000" y="18462"/>
                      </a:lnTo>
                      <a:lnTo>
                        <a:pt x="13718" y="19161"/>
                      </a:lnTo>
                      <a:lnTo>
                        <a:pt x="10128" y="19860"/>
                      </a:lnTo>
                      <a:lnTo>
                        <a:pt x="6282" y="19161"/>
                      </a:lnTo>
                      <a:lnTo>
                        <a:pt x="3590" y="17622"/>
                      </a:lnTo>
                      <a:lnTo>
                        <a:pt x="2051" y="15944"/>
                      </a:lnTo>
                      <a:lnTo>
                        <a:pt x="641" y="14126"/>
                      </a:lnTo>
                      <a:lnTo>
                        <a:pt x="0" y="10909"/>
                      </a:lnTo>
                      <a:lnTo>
                        <a:pt x="0" y="8811"/>
                      </a:lnTo>
                      <a:lnTo>
                        <a:pt x="0" y="6294"/>
                      </a:lnTo>
                      <a:lnTo>
                        <a:pt x="2051" y="3916"/>
                      </a:lnTo>
                      <a:lnTo>
                        <a:pt x="2949" y="2517"/>
                      </a:lnTo>
                      <a:lnTo>
                        <a:pt x="6282" y="699"/>
                      </a:lnTo>
                      <a:lnTo>
                        <a:pt x="10128" y="0"/>
                      </a:lnTo>
                      <a:lnTo>
                        <a:pt x="13718" y="699"/>
                      </a:lnTo>
                      <a:lnTo>
                        <a:pt x="16667" y="2517"/>
                      </a:lnTo>
                      <a:lnTo>
                        <a:pt x="18205" y="4615"/>
                      </a:lnTo>
                      <a:lnTo>
                        <a:pt x="19615" y="7832"/>
                      </a:lnTo>
                      <a:lnTo>
                        <a:pt x="19872" y="9930"/>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grpSp>
          <p:grpSp>
            <p:nvGrpSpPr>
              <p:cNvPr id="90" name="Group 89">
                <a:extLst>
                  <a:ext uri="{FF2B5EF4-FFF2-40B4-BE49-F238E27FC236}">
                    <a16:creationId xmlns:a16="http://schemas.microsoft.com/office/drawing/2014/main" id="{E8011B7C-32FF-444F-8CDA-252E88313746}"/>
                  </a:ext>
                </a:extLst>
              </p:cNvPr>
              <p:cNvGrpSpPr/>
              <p:nvPr/>
            </p:nvGrpSpPr>
            <p:grpSpPr>
              <a:xfrm rot="13642977">
                <a:off x="5541726" y="4539522"/>
                <a:ext cx="655729" cy="496025"/>
                <a:chOff x="1344521" y="3514000"/>
                <a:chExt cx="364144" cy="270892"/>
              </a:xfrm>
            </p:grpSpPr>
            <p:sp>
              <p:nvSpPr>
                <p:cNvPr id="134" name="Freeform 36">
                  <a:extLst>
                    <a:ext uri="{FF2B5EF4-FFF2-40B4-BE49-F238E27FC236}">
                      <a16:creationId xmlns:a16="http://schemas.microsoft.com/office/drawing/2014/main" id="{B25E5993-204A-443E-A974-0467A9E41894}"/>
                    </a:ext>
                  </a:extLst>
                </p:cNvPr>
                <p:cNvSpPr>
                  <a:spLocks/>
                </p:cNvSpPr>
                <p:nvPr/>
              </p:nvSpPr>
              <p:spPr bwMode="auto">
                <a:xfrm rot="2891457">
                  <a:off x="1391147" y="3467374"/>
                  <a:ext cx="270892" cy="364144"/>
                </a:xfrm>
                <a:custGeom>
                  <a:avLst/>
                  <a:gdLst>
                    <a:gd name="T0" fmla="*/ 15333 w 20000"/>
                    <a:gd name="T1" fmla="*/ 3594 h 20000"/>
                    <a:gd name="T2" fmla="*/ 11514 w 20000"/>
                    <a:gd name="T3" fmla="*/ 2673 h 20000"/>
                    <a:gd name="T4" fmla="*/ 6456 w 20000"/>
                    <a:gd name="T5" fmla="*/ 5945 h 20000"/>
                    <a:gd name="T6" fmla="*/ 6456 w 20000"/>
                    <a:gd name="T7" fmla="*/ 13779 h 20000"/>
                    <a:gd name="T8" fmla="*/ 11514 w 20000"/>
                    <a:gd name="T9" fmla="*/ 17143 h 20000"/>
                    <a:gd name="T10" fmla="*/ 15064 w 20000"/>
                    <a:gd name="T11" fmla="*/ 16590 h 20000"/>
                    <a:gd name="T12" fmla="*/ 18562 w 20000"/>
                    <a:gd name="T13" fmla="*/ 18664 h 20000"/>
                    <a:gd name="T14" fmla="*/ 9846 w 20000"/>
                    <a:gd name="T15" fmla="*/ 19954 h 20000"/>
                    <a:gd name="T16" fmla="*/ 1776 w 20000"/>
                    <a:gd name="T17" fmla="*/ 16359 h 20000"/>
                    <a:gd name="T18" fmla="*/ 0 w 20000"/>
                    <a:gd name="T19" fmla="*/ 12120 h 20000"/>
                    <a:gd name="T20" fmla="*/ 0 w 20000"/>
                    <a:gd name="T21" fmla="*/ 5392 h 20000"/>
                    <a:gd name="T22" fmla="*/ 1937 w 20000"/>
                    <a:gd name="T23" fmla="*/ 1843 h 20000"/>
                    <a:gd name="T24" fmla="*/ 11514 w 20000"/>
                    <a:gd name="T25" fmla="*/ 0 h 20000"/>
                    <a:gd name="T26" fmla="*/ 18562 w 20000"/>
                    <a:gd name="T27" fmla="*/ 1982 h 20000"/>
                    <a:gd name="T28" fmla="*/ 15333 w 20000"/>
                    <a:gd name="T29" fmla="*/ 3594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000" h="20000">
                      <a:moveTo>
                        <a:pt x="16474" y="3594"/>
                      </a:moveTo>
                      <a:lnTo>
                        <a:pt x="12370" y="2673"/>
                      </a:lnTo>
                      <a:lnTo>
                        <a:pt x="6936" y="5945"/>
                      </a:lnTo>
                      <a:lnTo>
                        <a:pt x="6936" y="13779"/>
                      </a:lnTo>
                      <a:lnTo>
                        <a:pt x="12370" y="17143"/>
                      </a:lnTo>
                      <a:lnTo>
                        <a:pt x="16185" y="16590"/>
                      </a:lnTo>
                      <a:lnTo>
                        <a:pt x="19942" y="18664"/>
                      </a:lnTo>
                      <a:lnTo>
                        <a:pt x="10578" y="19954"/>
                      </a:lnTo>
                      <a:lnTo>
                        <a:pt x="1908" y="16359"/>
                      </a:lnTo>
                      <a:lnTo>
                        <a:pt x="0" y="12120"/>
                      </a:lnTo>
                      <a:lnTo>
                        <a:pt x="0" y="5392"/>
                      </a:lnTo>
                      <a:lnTo>
                        <a:pt x="2081" y="1843"/>
                      </a:lnTo>
                      <a:lnTo>
                        <a:pt x="12370" y="0"/>
                      </a:lnTo>
                      <a:lnTo>
                        <a:pt x="19942" y="1982"/>
                      </a:lnTo>
                      <a:lnTo>
                        <a:pt x="16474" y="3594"/>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sp>
              <p:nvSpPr>
                <p:cNvPr id="135" name="Freeform 37">
                  <a:extLst>
                    <a:ext uri="{FF2B5EF4-FFF2-40B4-BE49-F238E27FC236}">
                      <a16:creationId xmlns:a16="http://schemas.microsoft.com/office/drawing/2014/main" id="{20DA9204-09F9-4384-910E-FE92FCAE4FE1}"/>
                    </a:ext>
                  </a:extLst>
                </p:cNvPr>
                <p:cNvSpPr>
                  <a:spLocks/>
                </p:cNvSpPr>
                <p:nvPr/>
              </p:nvSpPr>
              <p:spPr bwMode="auto">
                <a:xfrm rot="2891457">
                  <a:off x="1414869" y="3555664"/>
                  <a:ext cx="173375" cy="109619"/>
                </a:xfrm>
                <a:custGeom>
                  <a:avLst/>
                  <a:gdLst>
                    <a:gd name="T0" fmla="*/ 344 w 20000"/>
                    <a:gd name="T1" fmla="*/ 39 h 20000"/>
                    <a:gd name="T2" fmla="*/ 340 w 20000"/>
                    <a:gd name="T3" fmla="*/ 47 h 20000"/>
                    <a:gd name="T4" fmla="*/ 316 w 20000"/>
                    <a:gd name="T5" fmla="*/ 59 h 20000"/>
                    <a:gd name="T6" fmla="*/ 289 w 20000"/>
                    <a:gd name="T7" fmla="*/ 67 h 20000"/>
                    <a:gd name="T8" fmla="*/ 260 w 20000"/>
                    <a:gd name="T9" fmla="*/ 72 h 20000"/>
                    <a:gd name="T10" fmla="*/ 238 w 20000"/>
                    <a:gd name="T11" fmla="*/ 74 h 20000"/>
                    <a:gd name="T12" fmla="*/ 176 w 20000"/>
                    <a:gd name="T13" fmla="*/ 77 h 20000"/>
                    <a:gd name="T14" fmla="*/ 109 w 20000"/>
                    <a:gd name="T15" fmla="*/ 74 h 20000"/>
                    <a:gd name="T16" fmla="*/ 62 w 20000"/>
                    <a:gd name="T17" fmla="*/ 69 h 20000"/>
                    <a:gd name="T18" fmla="*/ 36 w 20000"/>
                    <a:gd name="T19" fmla="*/ 62 h 20000"/>
                    <a:gd name="T20" fmla="*/ 11 w 20000"/>
                    <a:gd name="T21" fmla="*/ 55 h 20000"/>
                    <a:gd name="T22" fmla="*/ 0 w 20000"/>
                    <a:gd name="T23" fmla="*/ 43 h 20000"/>
                    <a:gd name="T24" fmla="*/ 0 w 20000"/>
                    <a:gd name="T25" fmla="*/ 34 h 20000"/>
                    <a:gd name="T26" fmla="*/ 0 w 20000"/>
                    <a:gd name="T27" fmla="*/ 24 h 20000"/>
                    <a:gd name="T28" fmla="*/ 36 w 20000"/>
                    <a:gd name="T29" fmla="*/ 15 h 20000"/>
                    <a:gd name="T30" fmla="*/ 51 w 20000"/>
                    <a:gd name="T31" fmla="*/ 10 h 20000"/>
                    <a:gd name="T32" fmla="*/ 109 w 20000"/>
                    <a:gd name="T33" fmla="*/ 3 h 20000"/>
                    <a:gd name="T34" fmla="*/ 176 w 20000"/>
                    <a:gd name="T35" fmla="*/ 0 h 20000"/>
                    <a:gd name="T36" fmla="*/ 238 w 20000"/>
                    <a:gd name="T37" fmla="*/ 3 h 20000"/>
                    <a:gd name="T38" fmla="*/ 289 w 20000"/>
                    <a:gd name="T39" fmla="*/ 10 h 20000"/>
                    <a:gd name="T40" fmla="*/ 316 w 20000"/>
                    <a:gd name="T41" fmla="*/ 18 h 20000"/>
                    <a:gd name="T42" fmla="*/ 340 w 20000"/>
                    <a:gd name="T43" fmla="*/ 30 h 20000"/>
                    <a:gd name="T44" fmla="*/ 344 w 20000"/>
                    <a:gd name="T45" fmla="*/ 39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19872" y="9930"/>
                      </a:moveTo>
                      <a:lnTo>
                        <a:pt x="19615" y="12028"/>
                      </a:lnTo>
                      <a:lnTo>
                        <a:pt x="18205" y="15245"/>
                      </a:lnTo>
                      <a:lnTo>
                        <a:pt x="16667" y="17343"/>
                      </a:lnTo>
                      <a:lnTo>
                        <a:pt x="15000" y="18462"/>
                      </a:lnTo>
                      <a:lnTo>
                        <a:pt x="13718" y="19161"/>
                      </a:lnTo>
                      <a:lnTo>
                        <a:pt x="10128" y="19860"/>
                      </a:lnTo>
                      <a:lnTo>
                        <a:pt x="6282" y="19161"/>
                      </a:lnTo>
                      <a:lnTo>
                        <a:pt x="3590" y="17622"/>
                      </a:lnTo>
                      <a:lnTo>
                        <a:pt x="2051" y="15944"/>
                      </a:lnTo>
                      <a:lnTo>
                        <a:pt x="641" y="14126"/>
                      </a:lnTo>
                      <a:lnTo>
                        <a:pt x="0" y="10909"/>
                      </a:lnTo>
                      <a:lnTo>
                        <a:pt x="0" y="8811"/>
                      </a:lnTo>
                      <a:lnTo>
                        <a:pt x="0" y="6294"/>
                      </a:lnTo>
                      <a:lnTo>
                        <a:pt x="2051" y="3916"/>
                      </a:lnTo>
                      <a:lnTo>
                        <a:pt x="2949" y="2517"/>
                      </a:lnTo>
                      <a:lnTo>
                        <a:pt x="6282" y="699"/>
                      </a:lnTo>
                      <a:lnTo>
                        <a:pt x="10128" y="0"/>
                      </a:lnTo>
                      <a:lnTo>
                        <a:pt x="13718" y="699"/>
                      </a:lnTo>
                      <a:lnTo>
                        <a:pt x="16667" y="2517"/>
                      </a:lnTo>
                      <a:lnTo>
                        <a:pt x="18205" y="4615"/>
                      </a:lnTo>
                      <a:lnTo>
                        <a:pt x="19615" y="7832"/>
                      </a:lnTo>
                      <a:lnTo>
                        <a:pt x="19872" y="9930"/>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grpSp>
          <p:grpSp>
            <p:nvGrpSpPr>
              <p:cNvPr id="102" name="Group 101">
                <a:extLst>
                  <a:ext uri="{FF2B5EF4-FFF2-40B4-BE49-F238E27FC236}">
                    <a16:creationId xmlns:a16="http://schemas.microsoft.com/office/drawing/2014/main" id="{81E0A011-BA34-4FE1-A4E3-EA35888022CD}"/>
                  </a:ext>
                </a:extLst>
              </p:cNvPr>
              <p:cNvGrpSpPr/>
              <p:nvPr/>
            </p:nvGrpSpPr>
            <p:grpSpPr>
              <a:xfrm rot="2514100">
                <a:off x="4077932" y="2691938"/>
                <a:ext cx="655729" cy="496025"/>
                <a:chOff x="1344521" y="3514000"/>
                <a:chExt cx="364144" cy="270892"/>
              </a:xfrm>
            </p:grpSpPr>
            <p:sp>
              <p:nvSpPr>
                <p:cNvPr id="132" name="Freeform 36">
                  <a:extLst>
                    <a:ext uri="{FF2B5EF4-FFF2-40B4-BE49-F238E27FC236}">
                      <a16:creationId xmlns:a16="http://schemas.microsoft.com/office/drawing/2014/main" id="{26CC43E9-AF19-4F64-BA72-89F24041AC2E}"/>
                    </a:ext>
                  </a:extLst>
                </p:cNvPr>
                <p:cNvSpPr>
                  <a:spLocks/>
                </p:cNvSpPr>
                <p:nvPr/>
              </p:nvSpPr>
              <p:spPr bwMode="auto">
                <a:xfrm rot="2891457">
                  <a:off x="1391147" y="3467374"/>
                  <a:ext cx="270892" cy="364144"/>
                </a:xfrm>
                <a:custGeom>
                  <a:avLst/>
                  <a:gdLst>
                    <a:gd name="T0" fmla="*/ 15333 w 20000"/>
                    <a:gd name="T1" fmla="*/ 3594 h 20000"/>
                    <a:gd name="T2" fmla="*/ 11514 w 20000"/>
                    <a:gd name="T3" fmla="*/ 2673 h 20000"/>
                    <a:gd name="T4" fmla="*/ 6456 w 20000"/>
                    <a:gd name="T5" fmla="*/ 5945 h 20000"/>
                    <a:gd name="T6" fmla="*/ 6456 w 20000"/>
                    <a:gd name="T7" fmla="*/ 13779 h 20000"/>
                    <a:gd name="T8" fmla="*/ 11514 w 20000"/>
                    <a:gd name="T9" fmla="*/ 17143 h 20000"/>
                    <a:gd name="T10" fmla="*/ 15064 w 20000"/>
                    <a:gd name="T11" fmla="*/ 16590 h 20000"/>
                    <a:gd name="T12" fmla="*/ 18562 w 20000"/>
                    <a:gd name="T13" fmla="*/ 18664 h 20000"/>
                    <a:gd name="T14" fmla="*/ 9846 w 20000"/>
                    <a:gd name="T15" fmla="*/ 19954 h 20000"/>
                    <a:gd name="T16" fmla="*/ 1776 w 20000"/>
                    <a:gd name="T17" fmla="*/ 16359 h 20000"/>
                    <a:gd name="T18" fmla="*/ 0 w 20000"/>
                    <a:gd name="T19" fmla="*/ 12120 h 20000"/>
                    <a:gd name="T20" fmla="*/ 0 w 20000"/>
                    <a:gd name="T21" fmla="*/ 5392 h 20000"/>
                    <a:gd name="T22" fmla="*/ 1937 w 20000"/>
                    <a:gd name="T23" fmla="*/ 1843 h 20000"/>
                    <a:gd name="T24" fmla="*/ 11514 w 20000"/>
                    <a:gd name="T25" fmla="*/ 0 h 20000"/>
                    <a:gd name="T26" fmla="*/ 18562 w 20000"/>
                    <a:gd name="T27" fmla="*/ 1982 h 20000"/>
                    <a:gd name="T28" fmla="*/ 15333 w 20000"/>
                    <a:gd name="T29" fmla="*/ 3594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000" h="20000">
                      <a:moveTo>
                        <a:pt x="16474" y="3594"/>
                      </a:moveTo>
                      <a:lnTo>
                        <a:pt x="12370" y="2673"/>
                      </a:lnTo>
                      <a:lnTo>
                        <a:pt x="6936" y="5945"/>
                      </a:lnTo>
                      <a:lnTo>
                        <a:pt x="6936" y="13779"/>
                      </a:lnTo>
                      <a:lnTo>
                        <a:pt x="12370" y="17143"/>
                      </a:lnTo>
                      <a:lnTo>
                        <a:pt x="16185" y="16590"/>
                      </a:lnTo>
                      <a:lnTo>
                        <a:pt x="19942" y="18664"/>
                      </a:lnTo>
                      <a:lnTo>
                        <a:pt x="10578" y="19954"/>
                      </a:lnTo>
                      <a:lnTo>
                        <a:pt x="1908" y="16359"/>
                      </a:lnTo>
                      <a:lnTo>
                        <a:pt x="0" y="12120"/>
                      </a:lnTo>
                      <a:lnTo>
                        <a:pt x="0" y="5392"/>
                      </a:lnTo>
                      <a:lnTo>
                        <a:pt x="2081" y="1843"/>
                      </a:lnTo>
                      <a:lnTo>
                        <a:pt x="12370" y="0"/>
                      </a:lnTo>
                      <a:lnTo>
                        <a:pt x="19942" y="1982"/>
                      </a:lnTo>
                      <a:lnTo>
                        <a:pt x="16474" y="3594"/>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sp>
              <p:nvSpPr>
                <p:cNvPr id="133" name="Freeform 37">
                  <a:extLst>
                    <a:ext uri="{FF2B5EF4-FFF2-40B4-BE49-F238E27FC236}">
                      <a16:creationId xmlns:a16="http://schemas.microsoft.com/office/drawing/2014/main" id="{71395BFE-548C-40FD-8D89-F56E47B84D23}"/>
                    </a:ext>
                  </a:extLst>
                </p:cNvPr>
                <p:cNvSpPr>
                  <a:spLocks/>
                </p:cNvSpPr>
                <p:nvPr/>
              </p:nvSpPr>
              <p:spPr bwMode="auto">
                <a:xfrm rot="2891457">
                  <a:off x="1414869" y="3555664"/>
                  <a:ext cx="173375" cy="109619"/>
                </a:xfrm>
                <a:custGeom>
                  <a:avLst/>
                  <a:gdLst>
                    <a:gd name="T0" fmla="*/ 344 w 20000"/>
                    <a:gd name="T1" fmla="*/ 39 h 20000"/>
                    <a:gd name="T2" fmla="*/ 340 w 20000"/>
                    <a:gd name="T3" fmla="*/ 47 h 20000"/>
                    <a:gd name="T4" fmla="*/ 316 w 20000"/>
                    <a:gd name="T5" fmla="*/ 59 h 20000"/>
                    <a:gd name="T6" fmla="*/ 289 w 20000"/>
                    <a:gd name="T7" fmla="*/ 67 h 20000"/>
                    <a:gd name="T8" fmla="*/ 260 w 20000"/>
                    <a:gd name="T9" fmla="*/ 72 h 20000"/>
                    <a:gd name="T10" fmla="*/ 238 w 20000"/>
                    <a:gd name="T11" fmla="*/ 74 h 20000"/>
                    <a:gd name="T12" fmla="*/ 176 w 20000"/>
                    <a:gd name="T13" fmla="*/ 77 h 20000"/>
                    <a:gd name="T14" fmla="*/ 109 w 20000"/>
                    <a:gd name="T15" fmla="*/ 74 h 20000"/>
                    <a:gd name="T16" fmla="*/ 62 w 20000"/>
                    <a:gd name="T17" fmla="*/ 69 h 20000"/>
                    <a:gd name="T18" fmla="*/ 36 w 20000"/>
                    <a:gd name="T19" fmla="*/ 62 h 20000"/>
                    <a:gd name="T20" fmla="*/ 11 w 20000"/>
                    <a:gd name="T21" fmla="*/ 55 h 20000"/>
                    <a:gd name="T22" fmla="*/ 0 w 20000"/>
                    <a:gd name="T23" fmla="*/ 43 h 20000"/>
                    <a:gd name="T24" fmla="*/ 0 w 20000"/>
                    <a:gd name="T25" fmla="*/ 34 h 20000"/>
                    <a:gd name="T26" fmla="*/ 0 w 20000"/>
                    <a:gd name="T27" fmla="*/ 24 h 20000"/>
                    <a:gd name="T28" fmla="*/ 36 w 20000"/>
                    <a:gd name="T29" fmla="*/ 15 h 20000"/>
                    <a:gd name="T30" fmla="*/ 51 w 20000"/>
                    <a:gd name="T31" fmla="*/ 10 h 20000"/>
                    <a:gd name="T32" fmla="*/ 109 w 20000"/>
                    <a:gd name="T33" fmla="*/ 3 h 20000"/>
                    <a:gd name="T34" fmla="*/ 176 w 20000"/>
                    <a:gd name="T35" fmla="*/ 0 h 20000"/>
                    <a:gd name="T36" fmla="*/ 238 w 20000"/>
                    <a:gd name="T37" fmla="*/ 3 h 20000"/>
                    <a:gd name="T38" fmla="*/ 289 w 20000"/>
                    <a:gd name="T39" fmla="*/ 10 h 20000"/>
                    <a:gd name="T40" fmla="*/ 316 w 20000"/>
                    <a:gd name="T41" fmla="*/ 18 h 20000"/>
                    <a:gd name="T42" fmla="*/ 340 w 20000"/>
                    <a:gd name="T43" fmla="*/ 30 h 20000"/>
                    <a:gd name="T44" fmla="*/ 344 w 20000"/>
                    <a:gd name="T45" fmla="*/ 39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19872" y="9930"/>
                      </a:moveTo>
                      <a:lnTo>
                        <a:pt x="19615" y="12028"/>
                      </a:lnTo>
                      <a:lnTo>
                        <a:pt x="18205" y="15245"/>
                      </a:lnTo>
                      <a:lnTo>
                        <a:pt x="16667" y="17343"/>
                      </a:lnTo>
                      <a:lnTo>
                        <a:pt x="15000" y="18462"/>
                      </a:lnTo>
                      <a:lnTo>
                        <a:pt x="13718" y="19161"/>
                      </a:lnTo>
                      <a:lnTo>
                        <a:pt x="10128" y="19860"/>
                      </a:lnTo>
                      <a:lnTo>
                        <a:pt x="6282" y="19161"/>
                      </a:lnTo>
                      <a:lnTo>
                        <a:pt x="3590" y="17622"/>
                      </a:lnTo>
                      <a:lnTo>
                        <a:pt x="2051" y="15944"/>
                      </a:lnTo>
                      <a:lnTo>
                        <a:pt x="641" y="14126"/>
                      </a:lnTo>
                      <a:lnTo>
                        <a:pt x="0" y="10909"/>
                      </a:lnTo>
                      <a:lnTo>
                        <a:pt x="0" y="8811"/>
                      </a:lnTo>
                      <a:lnTo>
                        <a:pt x="0" y="6294"/>
                      </a:lnTo>
                      <a:lnTo>
                        <a:pt x="2051" y="3916"/>
                      </a:lnTo>
                      <a:lnTo>
                        <a:pt x="2949" y="2517"/>
                      </a:lnTo>
                      <a:lnTo>
                        <a:pt x="6282" y="699"/>
                      </a:lnTo>
                      <a:lnTo>
                        <a:pt x="10128" y="0"/>
                      </a:lnTo>
                      <a:lnTo>
                        <a:pt x="13718" y="699"/>
                      </a:lnTo>
                      <a:lnTo>
                        <a:pt x="16667" y="2517"/>
                      </a:lnTo>
                      <a:lnTo>
                        <a:pt x="18205" y="4615"/>
                      </a:lnTo>
                      <a:lnTo>
                        <a:pt x="19615" y="7832"/>
                      </a:lnTo>
                      <a:lnTo>
                        <a:pt x="19872" y="9930"/>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grpSp>
          <p:grpSp>
            <p:nvGrpSpPr>
              <p:cNvPr id="103" name="Group 102">
                <a:extLst>
                  <a:ext uri="{FF2B5EF4-FFF2-40B4-BE49-F238E27FC236}">
                    <a16:creationId xmlns:a16="http://schemas.microsoft.com/office/drawing/2014/main" id="{DA26B8F9-2669-49CB-9BE2-0E40182740B8}"/>
                  </a:ext>
                </a:extLst>
              </p:cNvPr>
              <p:cNvGrpSpPr/>
              <p:nvPr/>
            </p:nvGrpSpPr>
            <p:grpSpPr>
              <a:xfrm rot="1867876">
                <a:off x="7659887" y="2586979"/>
                <a:ext cx="655729" cy="496025"/>
                <a:chOff x="1344521" y="3514000"/>
                <a:chExt cx="364144" cy="270892"/>
              </a:xfrm>
            </p:grpSpPr>
            <p:sp>
              <p:nvSpPr>
                <p:cNvPr id="130" name="Freeform 36">
                  <a:extLst>
                    <a:ext uri="{FF2B5EF4-FFF2-40B4-BE49-F238E27FC236}">
                      <a16:creationId xmlns:a16="http://schemas.microsoft.com/office/drawing/2014/main" id="{AA2D907C-4EB8-42A0-8FD0-F36306EBB459}"/>
                    </a:ext>
                  </a:extLst>
                </p:cNvPr>
                <p:cNvSpPr>
                  <a:spLocks/>
                </p:cNvSpPr>
                <p:nvPr/>
              </p:nvSpPr>
              <p:spPr bwMode="auto">
                <a:xfrm rot="2891457">
                  <a:off x="1391147" y="3467374"/>
                  <a:ext cx="270892" cy="364144"/>
                </a:xfrm>
                <a:custGeom>
                  <a:avLst/>
                  <a:gdLst>
                    <a:gd name="T0" fmla="*/ 15333 w 20000"/>
                    <a:gd name="T1" fmla="*/ 3594 h 20000"/>
                    <a:gd name="T2" fmla="*/ 11514 w 20000"/>
                    <a:gd name="T3" fmla="*/ 2673 h 20000"/>
                    <a:gd name="T4" fmla="*/ 6456 w 20000"/>
                    <a:gd name="T5" fmla="*/ 5945 h 20000"/>
                    <a:gd name="T6" fmla="*/ 6456 w 20000"/>
                    <a:gd name="T7" fmla="*/ 13779 h 20000"/>
                    <a:gd name="T8" fmla="*/ 11514 w 20000"/>
                    <a:gd name="T9" fmla="*/ 17143 h 20000"/>
                    <a:gd name="T10" fmla="*/ 15064 w 20000"/>
                    <a:gd name="T11" fmla="*/ 16590 h 20000"/>
                    <a:gd name="T12" fmla="*/ 18562 w 20000"/>
                    <a:gd name="T13" fmla="*/ 18664 h 20000"/>
                    <a:gd name="T14" fmla="*/ 9846 w 20000"/>
                    <a:gd name="T15" fmla="*/ 19954 h 20000"/>
                    <a:gd name="T16" fmla="*/ 1776 w 20000"/>
                    <a:gd name="T17" fmla="*/ 16359 h 20000"/>
                    <a:gd name="T18" fmla="*/ 0 w 20000"/>
                    <a:gd name="T19" fmla="*/ 12120 h 20000"/>
                    <a:gd name="T20" fmla="*/ 0 w 20000"/>
                    <a:gd name="T21" fmla="*/ 5392 h 20000"/>
                    <a:gd name="T22" fmla="*/ 1937 w 20000"/>
                    <a:gd name="T23" fmla="*/ 1843 h 20000"/>
                    <a:gd name="T24" fmla="*/ 11514 w 20000"/>
                    <a:gd name="T25" fmla="*/ 0 h 20000"/>
                    <a:gd name="T26" fmla="*/ 18562 w 20000"/>
                    <a:gd name="T27" fmla="*/ 1982 h 20000"/>
                    <a:gd name="T28" fmla="*/ 15333 w 20000"/>
                    <a:gd name="T29" fmla="*/ 3594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000" h="20000">
                      <a:moveTo>
                        <a:pt x="16474" y="3594"/>
                      </a:moveTo>
                      <a:lnTo>
                        <a:pt x="12370" y="2673"/>
                      </a:lnTo>
                      <a:lnTo>
                        <a:pt x="6936" y="5945"/>
                      </a:lnTo>
                      <a:lnTo>
                        <a:pt x="6936" y="13779"/>
                      </a:lnTo>
                      <a:lnTo>
                        <a:pt x="12370" y="17143"/>
                      </a:lnTo>
                      <a:lnTo>
                        <a:pt x="16185" y="16590"/>
                      </a:lnTo>
                      <a:lnTo>
                        <a:pt x="19942" y="18664"/>
                      </a:lnTo>
                      <a:lnTo>
                        <a:pt x="10578" y="19954"/>
                      </a:lnTo>
                      <a:lnTo>
                        <a:pt x="1908" y="16359"/>
                      </a:lnTo>
                      <a:lnTo>
                        <a:pt x="0" y="12120"/>
                      </a:lnTo>
                      <a:lnTo>
                        <a:pt x="0" y="5392"/>
                      </a:lnTo>
                      <a:lnTo>
                        <a:pt x="2081" y="1843"/>
                      </a:lnTo>
                      <a:lnTo>
                        <a:pt x="12370" y="0"/>
                      </a:lnTo>
                      <a:lnTo>
                        <a:pt x="19942" y="1982"/>
                      </a:lnTo>
                      <a:lnTo>
                        <a:pt x="16474" y="3594"/>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sp>
              <p:nvSpPr>
                <p:cNvPr id="131" name="Freeform 37">
                  <a:extLst>
                    <a:ext uri="{FF2B5EF4-FFF2-40B4-BE49-F238E27FC236}">
                      <a16:creationId xmlns:a16="http://schemas.microsoft.com/office/drawing/2014/main" id="{A50C5B72-24E7-48DB-9C3B-9A650E9B1103}"/>
                    </a:ext>
                  </a:extLst>
                </p:cNvPr>
                <p:cNvSpPr>
                  <a:spLocks/>
                </p:cNvSpPr>
                <p:nvPr/>
              </p:nvSpPr>
              <p:spPr bwMode="auto">
                <a:xfrm rot="2891457">
                  <a:off x="1414869" y="3555664"/>
                  <a:ext cx="173375" cy="109619"/>
                </a:xfrm>
                <a:custGeom>
                  <a:avLst/>
                  <a:gdLst>
                    <a:gd name="T0" fmla="*/ 344 w 20000"/>
                    <a:gd name="T1" fmla="*/ 39 h 20000"/>
                    <a:gd name="T2" fmla="*/ 340 w 20000"/>
                    <a:gd name="T3" fmla="*/ 47 h 20000"/>
                    <a:gd name="T4" fmla="*/ 316 w 20000"/>
                    <a:gd name="T5" fmla="*/ 59 h 20000"/>
                    <a:gd name="T6" fmla="*/ 289 w 20000"/>
                    <a:gd name="T7" fmla="*/ 67 h 20000"/>
                    <a:gd name="T8" fmla="*/ 260 w 20000"/>
                    <a:gd name="T9" fmla="*/ 72 h 20000"/>
                    <a:gd name="T10" fmla="*/ 238 w 20000"/>
                    <a:gd name="T11" fmla="*/ 74 h 20000"/>
                    <a:gd name="T12" fmla="*/ 176 w 20000"/>
                    <a:gd name="T13" fmla="*/ 77 h 20000"/>
                    <a:gd name="T14" fmla="*/ 109 w 20000"/>
                    <a:gd name="T15" fmla="*/ 74 h 20000"/>
                    <a:gd name="T16" fmla="*/ 62 w 20000"/>
                    <a:gd name="T17" fmla="*/ 69 h 20000"/>
                    <a:gd name="T18" fmla="*/ 36 w 20000"/>
                    <a:gd name="T19" fmla="*/ 62 h 20000"/>
                    <a:gd name="T20" fmla="*/ 11 w 20000"/>
                    <a:gd name="T21" fmla="*/ 55 h 20000"/>
                    <a:gd name="T22" fmla="*/ 0 w 20000"/>
                    <a:gd name="T23" fmla="*/ 43 h 20000"/>
                    <a:gd name="T24" fmla="*/ 0 w 20000"/>
                    <a:gd name="T25" fmla="*/ 34 h 20000"/>
                    <a:gd name="T26" fmla="*/ 0 w 20000"/>
                    <a:gd name="T27" fmla="*/ 24 h 20000"/>
                    <a:gd name="T28" fmla="*/ 36 w 20000"/>
                    <a:gd name="T29" fmla="*/ 15 h 20000"/>
                    <a:gd name="T30" fmla="*/ 51 w 20000"/>
                    <a:gd name="T31" fmla="*/ 10 h 20000"/>
                    <a:gd name="T32" fmla="*/ 109 w 20000"/>
                    <a:gd name="T33" fmla="*/ 3 h 20000"/>
                    <a:gd name="T34" fmla="*/ 176 w 20000"/>
                    <a:gd name="T35" fmla="*/ 0 h 20000"/>
                    <a:gd name="T36" fmla="*/ 238 w 20000"/>
                    <a:gd name="T37" fmla="*/ 3 h 20000"/>
                    <a:gd name="T38" fmla="*/ 289 w 20000"/>
                    <a:gd name="T39" fmla="*/ 10 h 20000"/>
                    <a:gd name="T40" fmla="*/ 316 w 20000"/>
                    <a:gd name="T41" fmla="*/ 18 h 20000"/>
                    <a:gd name="T42" fmla="*/ 340 w 20000"/>
                    <a:gd name="T43" fmla="*/ 30 h 20000"/>
                    <a:gd name="T44" fmla="*/ 344 w 20000"/>
                    <a:gd name="T45" fmla="*/ 39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19872" y="9930"/>
                      </a:moveTo>
                      <a:lnTo>
                        <a:pt x="19615" y="12028"/>
                      </a:lnTo>
                      <a:lnTo>
                        <a:pt x="18205" y="15245"/>
                      </a:lnTo>
                      <a:lnTo>
                        <a:pt x="16667" y="17343"/>
                      </a:lnTo>
                      <a:lnTo>
                        <a:pt x="15000" y="18462"/>
                      </a:lnTo>
                      <a:lnTo>
                        <a:pt x="13718" y="19161"/>
                      </a:lnTo>
                      <a:lnTo>
                        <a:pt x="10128" y="19860"/>
                      </a:lnTo>
                      <a:lnTo>
                        <a:pt x="6282" y="19161"/>
                      </a:lnTo>
                      <a:lnTo>
                        <a:pt x="3590" y="17622"/>
                      </a:lnTo>
                      <a:lnTo>
                        <a:pt x="2051" y="15944"/>
                      </a:lnTo>
                      <a:lnTo>
                        <a:pt x="641" y="14126"/>
                      </a:lnTo>
                      <a:lnTo>
                        <a:pt x="0" y="10909"/>
                      </a:lnTo>
                      <a:lnTo>
                        <a:pt x="0" y="8811"/>
                      </a:lnTo>
                      <a:lnTo>
                        <a:pt x="0" y="6294"/>
                      </a:lnTo>
                      <a:lnTo>
                        <a:pt x="2051" y="3916"/>
                      </a:lnTo>
                      <a:lnTo>
                        <a:pt x="2949" y="2517"/>
                      </a:lnTo>
                      <a:lnTo>
                        <a:pt x="6282" y="699"/>
                      </a:lnTo>
                      <a:lnTo>
                        <a:pt x="10128" y="0"/>
                      </a:lnTo>
                      <a:lnTo>
                        <a:pt x="13718" y="699"/>
                      </a:lnTo>
                      <a:lnTo>
                        <a:pt x="16667" y="2517"/>
                      </a:lnTo>
                      <a:lnTo>
                        <a:pt x="18205" y="4615"/>
                      </a:lnTo>
                      <a:lnTo>
                        <a:pt x="19615" y="7832"/>
                      </a:lnTo>
                      <a:lnTo>
                        <a:pt x="19872" y="9930"/>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grpSp>
          <p:grpSp>
            <p:nvGrpSpPr>
              <p:cNvPr id="104" name="Group 103">
                <a:extLst>
                  <a:ext uri="{FF2B5EF4-FFF2-40B4-BE49-F238E27FC236}">
                    <a16:creationId xmlns:a16="http://schemas.microsoft.com/office/drawing/2014/main" id="{E4452329-287C-48AC-8497-9B22565B9BBE}"/>
                  </a:ext>
                </a:extLst>
              </p:cNvPr>
              <p:cNvGrpSpPr/>
              <p:nvPr/>
            </p:nvGrpSpPr>
            <p:grpSpPr>
              <a:xfrm rot="14470938">
                <a:off x="7579245" y="4527255"/>
                <a:ext cx="655729" cy="496025"/>
                <a:chOff x="1344521" y="3514000"/>
                <a:chExt cx="364144" cy="270892"/>
              </a:xfrm>
            </p:grpSpPr>
            <p:sp>
              <p:nvSpPr>
                <p:cNvPr id="128" name="Freeform 36">
                  <a:extLst>
                    <a:ext uri="{FF2B5EF4-FFF2-40B4-BE49-F238E27FC236}">
                      <a16:creationId xmlns:a16="http://schemas.microsoft.com/office/drawing/2014/main" id="{C643AB9B-724D-45AE-A941-0813C40DDF53}"/>
                    </a:ext>
                  </a:extLst>
                </p:cNvPr>
                <p:cNvSpPr>
                  <a:spLocks/>
                </p:cNvSpPr>
                <p:nvPr/>
              </p:nvSpPr>
              <p:spPr bwMode="auto">
                <a:xfrm rot="2891457">
                  <a:off x="1391147" y="3467374"/>
                  <a:ext cx="270892" cy="364144"/>
                </a:xfrm>
                <a:custGeom>
                  <a:avLst/>
                  <a:gdLst>
                    <a:gd name="T0" fmla="*/ 15333 w 20000"/>
                    <a:gd name="T1" fmla="*/ 3594 h 20000"/>
                    <a:gd name="T2" fmla="*/ 11514 w 20000"/>
                    <a:gd name="T3" fmla="*/ 2673 h 20000"/>
                    <a:gd name="T4" fmla="*/ 6456 w 20000"/>
                    <a:gd name="T5" fmla="*/ 5945 h 20000"/>
                    <a:gd name="T6" fmla="*/ 6456 w 20000"/>
                    <a:gd name="T7" fmla="*/ 13779 h 20000"/>
                    <a:gd name="T8" fmla="*/ 11514 w 20000"/>
                    <a:gd name="T9" fmla="*/ 17143 h 20000"/>
                    <a:gd name="T10" fmla="*/ 15064 w 20000"/>
                    <a:gd name="T11" fmla="*/ 16590 h 20000"/>
                    <a:gd name="T12" fmla="*/ 18562 w 20000"/>
                    <a:gd name="T13" fmla="*/ 18664 h 20000"/>
                    <a:gd name="T14" fmla="*/ 9846 w 20000"/>
                    <a:gd name="T15" fmla="*/ 19954 h 20000"/>
                    <a:gd name="T16" fmla="*/ 1776 w 20000"/>
                    <a:gd name="T17" fmla="*/ 16359 h 20000"/>
                    <a:gd name="T18" fmla="*/ 0 w 20000"/>
                    <a:gd name="T19" fmla="*/ 12120 h 20000"/>
                    <a:gd name="T20" fmla="*/ 0 w 20000"/>
                    <a:gd name="T21" fmla="*/ 5392 h 20000"/>
                    <a:gd name="T22" fmla="*/ 1937 w 20000"/>
                    <a:gd name="T23" fmla="*/ 1843 h 20000"/>
                    <a:gd name="T24" fmla="*/ 11514 w 20000"/>
                    <a:gd name="T25" fmla="*/ 0 h 20000"/>
                    <a:gd name="T26" fmla="*/ 18562 w 20000"/>
                    <a:gd name="T27" fmla="*/ 1982 h 20000"/>
                    <a:gd name="T28" fmla="*/ 15333 w 20000"/>
                    <a:gd name="T29" fmla="*/ 3594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000" h="20000">
                      <a:moveTo>
                        <a:pt x="16474" y="3594"/>
                      </a:moveTo>
                      <a:lnTo>
                        <a:pt x="12370" y="2673"/>
                      </a:lnTo>
                      <a:lnTo>
                        <a:pt x="6936" y="5945"/>
                      </a:lnTo>
                      <a:lnTo>
                        <a:pt x="6936" y="13779"/>
                      </a:lnTo>
                      <a:lnTo>
                        <a:pt x="12370" y="17143"/>
                      </a:lnTo>
                      <a:lnTo>
                        <a:pt x="16185" y="16590"/>
                      </a:lnTo>
                      <a:lnTo>
                        <a:pt x="19942" y="18664"/>
                      </a:lnTo>
                      <a:lnTo>
                        <a:pt x="10578" y="19954"/>
                      </a:lnTo>
                      <a:lnTo>
                        <a:pt x="1908" y="16359"/>
                      </a:lnTo>
                      <a:lnTo>
                        <a:pt x="0" y="12120"/>
                      </a:lnTo>
                      <a:lnTo>
                        <a:pt x="0" y="5392"/>
                      </a:lnTo>
                      <a:lnTo>
                        <a:pt x="2081" y="1843"/>
                      </a:lnTo>
                      <a:lnTo>
                        <a:pt x="12370" y="0"/>
                      </a:lnTo>
                      <a:lnTo>
                        <a:pt x="19942" y="1982"/>
                      </a:lnTo>
                      <a:lnTo>
                        <a:pt x="16474" y="3594"/>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sp>
              <p:nvSpPr>
                <p:cNvPr id="129" name="Freeform 37">
                  <a:extLst>
                    <a:ext uri="{FF2B5EF4-FFF2-40B4-BE49-F238E27FC236}">
                      <a16:creationId xmlns:a16="http://schemas.microsoft.com/office/drawing/2014/main" id="{4A0E0C03-D173-42B6-B4D7-AC921EB7C9BE}"/>
                    </a:ext>
                  </a:extLst>
                </p:cNvPr>
                <p:cNvSpPr>
                  <a:spLocks/>
                </p:cNvSpPr>
                <p:nvPr/>
              </p:nvSpPr>
              <p:spPr bwMode="auto">
                <a:xfrm rot="2891457">
                  <a:off x="1414869" y="3555664"/>
                  <a:ext cx="173375" cy="109619"/>
                </a:xfrm>
                <a:custGeom>
                  <a:avLst/>
                  <a:gdLst>
                    <a:gd name="T0" fmla="*/ 344 w 20000"/>
                    <a:gd name="T1" fmla="*/ 39 h 20000"/>
                    <a:gd name="T2" fmla="*/ 340 w 20000"/>
                    <a:gd name="T3" fmla="*/ 47 h 20000"/>
                    <a:gd name="T4" fmla="*/ 316 w 20000"/>
                    <a:gd name="T5" fmla="*/ 59 h 20000"/>
                    <a:gd name="T6" fmla="*/ 289 w 20000"/>
                    <a:gd name="T7" fmla="*/ 67 h 20000"/>
                    <a:gd name="T8" fmla="*/ 260 w 20000"/>
                    <a:gd name="T9" fmla="*/ 72 h 20000"/>
                    <a:gd name="T10" fmla="*/ 238 w 20000"/>
                    <a:gd name="T11" fmla="*/ 74 h 20000"/>
                    <a:gd name="T12" fmla="*/ 176 w 20000"/>
                    <a:gd name="T13" fmla="*/ 77 h 20000"/>
                    <a:gd name="T14" fmla="*/ 109 w 20000"/>
                    <a:gd name="T15" fmla="*/ 74 h 20000"/>
                    <a:gd name="T16" fmla="*/ 62 w 20000"/>
                    <a:gd name="T17" fmla="*/ 69 h 20000"/>
                    <a:gd name="T18" fmla="*/ 36 w 20000"/>
                    <a:gd name="T19" fmla="*/ 62 h 20000"/>
                    <a:gd name="T20" fmla="*/ 11 w 20000"/>
                    <a:gd name="T21" fmla="*/ 55 h 20000"/>
                    <a:gd name="T22" fmla="*/ 0 w 20000"/>
                    <a:gd name="T23" fmla="*/ 43 h 20000"/>
                    <a:gd name="T24" fmla="*/ 0 w 20000"/>
                    <a:gd name="T25" fmla="*/ 34 h 20000"/>
                    <a:gd name="T26" fmla="*/ 0 w 20000"/>
                    <a:gd name="T27" fmla="*/ 24 h 20000"/>
                    <a:gd name="T28" fmla="*/ 36 w 20000"/>
                    <a:gd name="T29" fmla="*/ 15 h 20000"/>
                    <a:gd name="T30" fmla="*/ 51 w 20000"/>
                    <a:gd name="T31" fmla="*/ 10 h 20000"/>
                    <a:gd name="T32" fmla="*/ 109 w 20000"/>
                    <a:gd name="T33" fmla="*/ 3 h 20000"/>
                    <a:gd name="T34" fmla="*/ 176 w 20000"/>
                    <a:gd name="T35" fmla="*/ 0 h 20000"/>
                    <a:gd name="T36" fmla="*/ 238 w 20000"/>
                    <a:gd name="T37" fmla="*/ 3 h 20000"/>
                    <a:gd name="T38" fmla="*/ 289 w 20000"/>
                    <a:gd name="T39" fmla="*/ 10 h 20000"/>
                    <a:gd name="T40" fmla="*/ 316 w 20000"/>
                    <a:gd name="T41" fmla="*/ 18 h 20000"/>
                    <a:gd name="T42" fmla="*/ 340 w 20000"/>
                    <a:gd name="T43" fmla="*/ 30 h 20000"/>
                    <a:gd name="T44" fmla="*/ 344 w 20000"/>
                    <a:gd name="T45" fmla="*/ 39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19872" y="9930"/>
                      </a:moveTo>
                      <a:lnTo>
                        <a:pt x="19615" y="12028"/>
                      </a:lnTo>
                      <a:lnTo>
                        <a:pt x="18205" y="15245"/>
                      </a:lnTo>
                      <a:lnTo>
                        <a:pt x="16667" y="17343"/>
                      </a:lnTo>
                      <a:lnTo>
                        <a:pt x="15000" y="18462"/>
                      </a:lnTo>
                      <a:lnTo>
                        <a:pt x="13718" y="19161"/>
                      </a:lnTo>
                      <a:lnTo>
                        <a:pt x="10128" y="19860"/>
                      </a:lnTo>
                      <a:lnTo>
                        <a:pt x="6282" y="19161"/>
                      </a:lnTo>
                      <a:lnTo>
                        <a:pt x="3590" y="17622"/>
                      </a:lnTo>
                      <a:lnTo>
                        <a:pt x="2051" y="15944"/>
                      </a:lnTo>
                      <a:lnTo>
                        <a:pt x="641" y="14126"/>
                      </a:lnTo>
                      <a:lnTo>
                        <a:pt x="0" y="10909"/>
                      </a:lnTo>
                      <a:lnTo>
                        <a:pt x="0" y="8811"/>
                      </a:lnTo>
                      <a:lnTo>
                        <a:pt x="0" y="6294"/>
                      </a:lnTo>
                      <a:lnTo>
                        <a:pt x="2051" y="3916"/>
                      </a:lnTo>
                      <a:lnTo>
                        <a:pt x="2949" y="2517"/>
                      </a:lnTo>
                      <a:lnTo>
                        <a:pt x="6282" y="699"/>
                      </a:lnTo>
                      <a:lnTo>
                        <a:pt x="10128" y="0"/>
                      </a:lnTo>
                      <a:lnTo>
                        <a:pt x="13718" y="699"/>
                      </a:lnTo>
                      <a:lnTo>
                        <a:pt x="16667" y="2517"/>
                      </a:lnTo>
                      <a:lnTo>
                        <a:pt x="18205" y="4615"/>
                      </a:lnTo>
                      <a:lnTo>
                        <a:pt x="19615" y="7832"/>
                      </a:lnTo>
                      <a:lnTo>
                        <a:pt x="19872" y="9930"/>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grpSp>
          <p:grpSp>
            <p:nvGrpSpPr>
              <p:cNvPr id="105" name="Group 104">
                <a:extLst>
                  <a:ext uri="{FF2B5EF4-FFF2-40B4-BE49-F238E27FC236}">
                    <a16:creationId xmlns:a16="http://schemas.microsoft.com/office/drawing/2014/main" id="{9A284A56-E74A-4804-BBD7-F2EA2752F756}"/>
                  </a:ext>
                </a:extLst>
              </p:cNvPr>
              <p:cNvGrpSpPr/>
              <p:nvPr/>
            </p:nvGrpSpPr>
            <p:grpSpPr>
              <a:xfrm rot="4022665">
                <a:off x="8478757" y="2559116"/>
                <a:ext cx="655729" cy="496025"/>
                <a:chOff x="1344521" y="3514000"/>
                <a:chExt cx="364144" cy="270892"/>
              </a:xfrm>
            </p:grpSpPr>
            <p:sp>
              <p:nvSpPr>
                <p:cNvPr id="126" name="Freeform 36">
                  <a:extLst>
                    <a:ext uri="{FF2B5EF4-FFF2-40B4-BE49-F238E27FC236}">
                      <a16:creationId xmlns:a16="http://schemas.microsoft.com/office/drawing/2014/main" id="{0644CF1A-CC03-4618-89FB-F046DA39874F}"/>
                    </a:ext>
                  </a:extLst>
                </p:cNvPr>
                <p:cNvSpPr>
                  <a:spLocks/>
                </p:cNvSpPr>
                <p:nvPr/>
              </p:nvSpPr>
              <p:spPr bwMode="auto">
                <a:xfrm rot="2891457">
                  <a:off x="1391147" y="3467374"/>
                  <a:ext cx="270892" cy="364144"/>
                </a:xfrm>
                <a:custGeom>
                  <a:avLst/>
                  <a:gdLst>
                    <a:gd name="T0" fmla="*/ 15333 w 20000"/>
                    <a:gd name="T1" fmla="*/ 3594 h 20000"/>
                    <a:gd name="T2" fmla="*/ 11514 w 20000"/>
                    <a:gd name="T3" fmla="*/ 2673 h 20000"/>
                    <a:gd name="T4" fmla="*/ 6456 w 20000"/>
                    <a:gd name="T5" fmla="*/ 5945 h 20000"/>
                    <a:gd name="T6" fmla="*/ 6456 w 20000"/>
                    <a:gd name="T7" fmla="*/ 13779 h 20000"/>
                    <a:gd name="T8" fmla="*/ 11514 w 20000"/>
                    <a:gd name="T9" fmla="*/ 17143 h 20000"/>
                    <a:gd name="T10" fmla="*/ 15064 w 20000"/>
                    <a:gd name="T11" fmla="*/ 16590 h 20000"/>
                    <a:gd name="T12" fmla="*/ 18562 w 20000"/>
                    <a:gd name="T13" fmla="*/ 18664 h 20000"/>
                    <a:gd name="T14" fmla="*/ 9846 w 20000"/>
                    <a:gd name="T15" fmla="*/ 19954 h 20000"/>
                    <a:gd name="T16" fmla="*/ 1776 w 20000"/>
                    <a:gd name="T17" fmla="*/ 16359 h 20000"/>
                    <a:gd name="T18" fmla="*/ 0 w 20000"/>
                    <a:gd name="T19" fmla="*/ 12120 h 20000"/>
                    <a:gd name="T20" fmla="*/ 0 w 20000"/>
                    <a:gd name="T21" fmla="*/ 5392 h 20000"/>
                    <a:gd name="T22" fmla="*/ 1937 w 20000"/>
                    <a:gd name="T23" fmla="*/ 1843 h 20000"/>
                    <a:gd name="T24" fmla="*/ 11514 w 20000"/>
                    <a:gd name="T25" fmla="*/ 0 h 20000"/>
                    <a:gd name="T26" fmla="*/ 18562 w 20000"/>
                    <a:gd name="T27" fmla="*/ 1982 h 20000"/>
                    <a:gd name="T28" fmla="*/ 15333 w 20000"/>
                    <a:gd name="T29" fmla="*/ 3594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000" h="20000">
                      <a:moveTo>
                        <a:pt x="16474" y="3594"/>
                      </a:moveTo>
                      <a:lnTo>
                        <a:pt x="12370" y="2673"/>
                      </a:lnTo>
                      <a:lnTo>
                        <a:pt x="6936" y="5945"/>
                      </a:lnTo>
                      <a:lnTo>
                        <a:pt x="6936" y="13779"/>
                      </a:lnTo>
                      <a:lnTo>
                        <a:pt x="12370" y="17143"/>
                      </a:lnTo>
                      <a:lnTo>
                        <a:pt x="16185" y="16590"/>
                      </a:lnTo>
                      <a:lnTo>
                        <a:pt x="19942" y="18664"/>
                      </a:lnTo>
                      <a:lnTo>
                        <a:pt x="10578" y="19954"/>
                      </a:lnTo>
                      <a:lnTo>
                        <a:pt x="1908" y="16359"/>
                      </a:lnTo>
                      <a:lnTo>
                        <a:pt x="0" y="12120"/>
                      </a:lnTo>
                      <a:lnTo>
                        <a:pt x="0" y="5392"/>
                      </a:lnTo>
                      <a:lnTo>
                        <a:pt x="2081" y="1843"/>
                      </a:lnTo>
                      <a:lnTo>
                        <a:pt x="12370" y="0"/>
                      </a:lnTo>
                      <a:lnTo>
                        <a:pt x="19942" y="1982"/>
                      </a:lnTo>
                      <a:lnTo>
                        <a:pt x="16474" y="3594"/>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sp>
              <p:nvSpPr>
                <p:cNvPr id="127" name="Freeform 37">
                  <a:extLst>
                    <a:ext uri="{FF2B5EF4-FFF2-40B4-BE49-F238E27FC236}">
                      <a16:creationId xmlns:a16="http://schemas.microsoft.com/office/drawing/2014/main" id="{7347589F-B206-4C5C-AAAE-0BA76404EA21}"/>
                    </a:ext>
                  </a:extLst>
                </p:cNvPr>
                <p:cNvSpPr>
                  <a:spLocks/>
                </p:cNvSpPr>
                <p:nvPr/>
              </p:nvSpPr>
              <p:spPr bwMode="auto">
                <a:xfrm rot="2891457">
                  <a:off x="1414869" y="3555664"/>
                  <a:ext cx="173375" cy="109619"/>
                </a:xfrm>
                <a:custGeom>
                  <a:avLst/>
                  <a:gdLst>
                    <a:gd name="T0" fmla="*/ 344 w 20000"/>
                    <a:gd name="T1" fmla="*/ 39 h 20000"/>
                    <a:gd name="T2" fmla="*/ 340 w 20000"/>
                    <a:gd name="T3" fmla="*/ 47 h 20000"/>
                    <a:gd name="T4" fmla="*/ 316 w 20000"/>
                    <a:gd name="T5" fmla="*/ 59 h 20000"/>
                    <a:gd name="T6" fmla="*/ 289 w 20000"/>
                    <a:gd name="T7" fmla="*/ 67 h 20000"/>
                    <a:gd name="T8" fmla="*/ 260 w 20000"/>
                    <a:gd name="T9" fmla="*/ 72 h 20000"/>
                    <a:gd name="T10" fmla="*/ 238 w 20000"/>
                    <a:gd name="T11" fmla="*/ 74 h 20000"/>
                    <a:gd name="T12" fmla="*/ 176 w 20000"/>
                    <a:gd name="T13" fmla="*/ 77 h 20000"/>
                    <a:gd name="T14" fmla="*/ 109 w 20000"/>
                    <a:gd name="T15" fmla="*/ 74 h 20000"/>
                    <a:gd name="T16" fmla="*/ 62 w 20000"/>
                    <a:gd name="T17" fmla="*/ 69 h 20000"/>
                    <a:gd name="T18" fmla="*/ 36 w 20000"/>
                    <a:gd name="T19" fmla="*/ 62 h 20000"/>
                    <a:gd name="T20" fmla="*/ 11 w 20000"/>
                    <a:gd name="T21" fmla="*/ 55 h 20000"/>
                    <a:gd name="T22" fmla="*/ 0 w 20000"/>
                    <a:gd name="T23" fmla="*/ 43 h 20000"/>
                    <a:gd name="T24" fmla="*/ 0 w 20000"/>
                    <a:gd name="T25" fmla="*/ 34 h 20000"/>
                    <a:gd name="T26" fmla="*/ 0 w 20000"/>
                    <a:gd name="T27" fmla="*/ 24 h 20000"/>
                    <a:gd name="T28" fmla="*/ 36 w 20000"/>
                    <a:gd name="T29" fmla="*/ 15 h 20000"/>
                    <a:gd name="T30" fmla="*/ 51 w 20000"/>
                    <a:gd name="T31" fmla="*/ 10 h 20000"/>
                    <a:gd name="T32" fmla="*/ 109 w 20000"/>
                    <a:gd name="T33" fmla="*/ 3 h 20000"/>
                    <a:gd name="T34" fmla="*/ 176 w 20000"/>
                    <a:gd name="T35" fmla="*/ 0 h 20000"/>
                    <a:gd name="T36" fmla="*/ 238 w 20000"/>
                    <a:gd name="T37" fmla="*/ 3 h 20000"/>
                    <a:gd name="T38" fmla="*/ 289 w 20000"/>
                    <a:gd name="T39" fmla="*/ 10 h 20000"/>
                    <a:gd name="T40" fmla="*/ 316 w 20000"/>
                    <a:gd name="T41" fmla="*/ 18 h 20000"/>
                    <a:gd name="T42" fmla="*/ 340 w 20000"/>
                    <a:gd name="T43" fmla="*/ 30 h 20000"/>
                    <a:gd name="T44" fmla="*/ 344 w 20000"/>
                    <a:gd name="T45" fmla="*/ 39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19872" y="9930"/>
                      </a:moveTo>
                      <a:lnTo>
                        <a:pt x="19615" y="12028"/>
                      </a:lnTo>
                      <a:lnTo>
                        <a:pt x="18205" y="15245"/>
                      </a:lnTo>
                      <a:lnTo>
                        <a:pt x="16667" y="17343"/>
                      </a:lnTo>
                      <a:lnTo>
                        <a:pt x="15000" y="18462"/>
                      </a:lnTo>
                      <a:lnTo>
                        <a:pt x="13718" y="19161"/>
                      </a:lnTo>
                      <a:lnTo>
                        <a:pt x="10128" y="19860"/>
                      </a:lnTo>
                      <a:lnTo>
                        <a:pt x="6282" y="19161"/>
                      </a:lnTo>
                      <a:lnTo>
                        <a:pt x="3590" y="17622"/>
                      </a:lnTo>
                      <a:lnTo>
                        <a:pt x="2051" y="15944"/>
                      </a:lnTo>
                      <a:lnTo>
                        <a:pt x="641" y="14126"/>
                      </a:lnTo>
                      <a:lnTo>
                        <a:pt x="0" y="10909"/>
                      </a:lnTo>
                      <a:lnTo>
                        <a:pt x="0" y="8811"/>
                      </a:lnTo>
                      <a:lnTo>
                        <a:pt x="0" y="6294"/>
                      </a:lnTo>
                      <a:lnTo>
                        <a:pt x="2051" y="3916"/>
                      </a:lnTo>
                      <a:lnTo>
                        <a:pt x="2949" y="2517"/>
                      </a:lnTo>
                      <a:lnTo>
                        <a:pt x="6282" y="699"/>
                      </a:lnTo>
                      <a:lnTo>
                        <a:pt x="10128" y="0"/>
                      </a:lnTo>
                      <a:lnTo>
                        <a:pt x="13718" y="699"/>
                      </a:lnTo>
                      <a:lnTo>
                        <a:pt x="16667" y="2517"/>
                      </a:lnTo>
                      <a:lnTo>
                        <a:pt x="18205" y="4615"/>
                      </a:lnTo>
                      <a:lnTo>
                        <a:pt x="19615" y="7832"/>
                      </a:lnTo>
                      <a:lnTo>
                        <a:pt x="19872" y="9930"/>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grpSp>
          <p:grpSp>
            <p:nvGrpSpPr>
              <p:cNvPr id="106" name="Group 105">
                <a:extLst>
                  <a:ext uri="{FF2B5EF4-FFF2-40B4-BE49-F238E27FC236}">
                    <a16:creationId xmlns:a16="http://schemas.microsoft.com/office/drawing/2014/main" id="{C0AE0386-86A4-4661-8C72-6DF5DB94CF2F}"/>
                  </a:ext>
                </a:extLst>
              </p:cNvPr>
              <p:cNvGrpSpPr/>
              <p:nvPr/>
            </p:nvGrpSpPr>
            <p:grpSpPr>
              <a:xfrm rot="11336092">
                <a:off x="8622106" y="4530851"/>
                <a:ext cx="655729" cy="496025"/>
                <a:chOff x="1344521" y="3514000"/>
                <a:chExt cx="364144" cy="270892"/>
              </a:xfrm>
            </p:grpSpPr>
            <p:sp>
              <p:nvSpPr>
                <p:cNvPr id="124" name="Freeform 36">
                  <a:extLst>
                    <a:ext uri="{FF2B5EF4-FFF2-40B4-BE49-F238E27FC236}">
                      <a16:creationId xmlns:a16="http://schemas.microsoft.com/office/drawing/2014/main" id="{4F38BB01-9C14-4EE0-856D-8917B589083E}"/>
                    </a:ext>
                  </a:extLst>
                </p:cNvPr>
                <p:cNvSpPr>
                  <a:spLocks/>
                </p:cNvSpPr>
                <p:nvPr/>
              </p:nvSpPr>
              <p:spPr bwMode="auto">
                <a:xfrm rot="2891457">
                  <a:off x="1391147" y="3467374"/>
                  <a:ext cx="270892" cy="364144"/>
                </a:xfrm>
                <a:custGeom>
                  <a:avLst/>
                  <a:gdLst>
                    <a:gd name="T0" fmla="*/ 15333 w 20000"/>
                    <a:gd name="T1" fmla="*/ 3594 h 20000"/>
                    <a:gd name="T2" fmla="*/ 11514 w 20000"/>
                    <a:gd name="T3" fmla="*/ 2673 h 20000"/>
                    <a:gd name="T4" fmla="*/ 6456 w 20000"/>
                    <a:gd name="T5" fmla="*/ 5945 h 20000"/>
                    <a:gd name="T6" fmla="*/ 6456 w 20000"/>
                    <a:gd name="T7" fmla="*/ 13779 h 20000"/>
                    <a:gd name="T8" fmla="*/ 11514 w 20000"/>
                    <a:gd name="T9" fmla="*/ 17143 h 20000"/>
                    <a:gd name="T10" fmla="*/ 15064 w 20000"/>
                    <a:gd name="T11" fmla="*/ 16590 h 20000"/>
                    <a:gd name="T12" fmla="*/ 18562 w 20000"/>
                    <a:gd name="T13" fmla="*/ 18664 h 20000"/>
                    <a:gd name="T14" fmla="*/ 9846 w 20000"/>
                    <a:gd name="T15" fmla="*/ 19954 h 20000"/>
                    <a:gd name="T16" fmla="*/ 1776 w 20000"/>
                    <a:gd name="T17" fmla="*/ 16359 h 20000"/>
                    <a:gd name="T18" fmla="*/ 0 w 20000"/>
                    <a:gd name="T19" fmla="*/ 12120 h 20000"/>
                    <a:gd name="T20" fmla="*/ 0 w 20000"/>
                    <a:gd name="T21" fmla="*/ 5392 h 20000"/>
                    <a:gd name="T22" fmla="*/ 1937 w 20000"/>
                    <a:gd name="T23" fmla="*/ 1843 h 20000"/>
                    <a:gd name="T24" fmla="*/ 11514 w 20000"/>
                    <a:gd name="T25" fmla="*/ 0 h 20000"/>
                    <a:gd name="T26" fmla="*/ 18562 w 20000"/>
                    <a:gd name="T27" fmla="*/ 1982 h 20000"/>
                    <a:gd name="T28" fmla="*/ 15333 w 20000"/>
                    <a:gd name="T29" fmla="*/ 3594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000" h="20000">
                      <a:moveTo>
                        <a:pt x="16474" y="3594"/>
                      </a:moveTo>
                      <a:lnTo>
                        <a:pt x="12370" y="2673"/>
                      </a:lnTo>
                      <a:lnTo>
                        <a:pt x="6936" y="5945"/>
                      </a:lnTo>
                      <a:lnTo>
                        <a:pt x="6936" y="13779"/>
                      </a:lnTo>
                      <a:lnTo>
                        <a:pt x="12370" y="17143"/>
                      </a:lnTo>
                      <a:lnTo>
                        <a:pt x="16185" y="16590"/>
                      </a:lnTo>
                      <a:lnTo>
                        <a:pt x="19942" y="18664"/>
                      </a:lnTo>
                      <a:lnTo>
                        <a:pt x="10578" y="19954"/>
                      </a:lnTo>
                      <a:lnTo>
                        <a:pt x="1908" y="16359"/>
                      </a:lnTo>
                      <a:lnTo>
                        <a:pt x="0" y="12120"/>
                      </a:lnTo>
                      <a:lnTo>
                        <a:pt x="0" y="5392"/>
                      </a:lnTo>
                      <a:lnTo>
                        <a:pt x="2081" y="1843"/>
                      </a:lnTo>
                      <a:lnTo>
                        <a:pt x="12370" y="0"/>
                      </a:lnTo>
                      <a:lnTo>
                        <a:pt x="19942" y="1982"/>
                      </a:lnTo>
                      <a:lnTo>
                        <a:pt x="16474" y="3594"/>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sp>
              <p:nvSpPr>
                <p:cNvPr id="125" name="Freeform 37">
                  <a:extLst>
                    <a:ext uri="{FF2B5EF4-FFF2-40B4-BE49-F238E27FC236}">
                      <a16:creationId xmlns:a16="http://schemas.microsoft.com/office/drawing/2014/main" id="{9BBF3C28-0AD0-410E-986D-3C1A1C0B9984}"/>
                    </a:ext>
                  </a:extLst>
                </p:cNvPr>
                <p:cNvSpPr>
                  <a:spLocks/>
                </p:cNvSpPr>
                <p:nvPr/>
              </p:nvSpPr>
              <p:spPr bwMode="auto">
                <a:xfrm rot="2891457">
                  <a:off x="1414869" y="3555664"/>
                  <a:ext cx="173375" cy="109619"/>
                </a:xfrm>
                <a:custGeom>
                  <a:avLst/>
                  <a:gdLst>
                    <a:gd name="T0" fmla="*/ 344 w 20000"/>
                    <a:gd name="T1" fmla="*/ 39 h 20000"/>
                    <a:gd name="T2" fmla="*/ 340 w 20000"/>
                    <a:gd name="T3" fmla="*/ 47 h 20000"/>
                    <a:gd name="T4" fmla="*/ 316 w 20000"/>
                    <a:gd name="T5" fmla="*/ 59 h 20000"/>
                    <a:gd name="T6" fmla="*/ 289 w 20000"/>
                    <a:gd name="T7" fmla="*/ 67 h 20000"/>
                    <a:gd name="T8" fmla="*/ 260 w 20000"/>
                    <a:gd name="T9" fmla="*/ 72 h 20000"/>
                    <a:gd name="T10" fmla="*/ 238 w 20000"/>
                    <a:gd name="T11" fmla="*/ 74 h 20000"/>
                    <a:gd name="T12" fmla="*/ 176 w 20000"/>
                    <a:gd name="T13" fmla="*/ 77 h 20000"/>
                    <a:gd name="T14" fmla="*/ 109 w 20000"/>
                    <a:gd name="T15" fmla="*/ 74 h 20000"/>
                    <a:gd name="T16" fmla="*/ 62 w 20000"/>
                    <a:gd name="T17" fmla="*/ 69 h 20000"/>
                    <a:gd name="T18" fmla="*/ 36 w 20000"/>
                    <a:gd name="T19" fmla="*/ 62 h 20000"/>
                    <a:gd name="T20" fmla="*/ 11 w 20000"/>
                    <a:gd name="T21" fmla="*/ 55 h 20000"/>
                    <a:gd name="T22" fmla="*/ 0 w 20000"/>
                    <a:gd name="T23" fmla="*/ 43 h 20000"/>
                    <a:gd name="T24" fmla="*/ 0 w 20000"/>
                    <a:gd name="T25" fmla="*/ 34 h 20000"/>
                    <a:gd name="T26" fmla="*/ 0 w 20000"/>
                    <a:gd name="T27" fmla="*/ 24 h 20000"/>
                    <a:gd name="T28" fmla="*/ 36 w 20000"/>
                    <a:gd name="T29" fmla="*/ 15 h 20000"/>
                    <a:gd name="T30" fmla="*/ 51 w 20000"/>
                    <a:gd name="T31" fmla="*/ 10 h 20000"/>
                    <a:gd name="T32" fmla="*/ 109 w 20000"/>
                    <a:gd name="T33" fmla="*/ 3 h 20000"/>
                    <a:gd name="T34" fmla="*/ 176 w 20000"/>
                    <a:gd name="T35" fmla="*/ 0 h 20000"/>
                    <a:gd name="T36" fmla="*/ 238 w 20000"/>
                    <a:gd name="T37" fmla="*/ 3 h 20000"/>
                    <a:gd name="T38" fmla="*/ 289 w 20000"/>
                    <a:gd name="T39" fmla="*/ 10 h 20000"/>
                    <a:gd name="T40" fmla="*/ 316 w 20000"/>
                    <a:gd name="T41" fmla="*/ 18 h 20000"/>
                    <a:gd name="T42" fmla="*/ 340 w 20000"/>
                    <a:gd name="T43" fmla="*/ 30 h 20000"/>
                    <a:gd name="T44" fmla="*/ 344 w 20000"/>
                    <a:gd name="T45" fmla="*/ 39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19872" y="9930"/>
                      </a:moveTo>
                      <a:lnTo>
                        <a:pt x="19615" y="12028"/>
                      </a:lnTo>
                      <a:lnTo>
                        <a:pt x="18205" y="15245"/>
                      </a:lnTo>
                      <a:lnTo>
                        <a:pt x="16667" y="17343"/>
                      </a:lnTo>
                      <a:lnTo>
                        <a:pt x="15000" y="18462"/>
                      </a:lnTo>
                      <a:lnTo>
                        <a:pt x="13718" y="19161"/>
                      </a:lnTo>
                      <a:lnTo>
                        <a:pt x="10128" y="19860"/>
                      </a:lnTo>
                      <a:lnTo>
                        <a:pt x="6282" y="19161"/>
                      </a:lnTo>
                      <a:lnTo>
                        <a:pt x="3590" y="17622"/>
                      </a:lnTo>
                      <a:lnTo>
                        <a:pt x="2051" y="15944"/>
                      </a:lnTo>
                      <a:lnTo>
                        <a:pt x="641" y="14126"/>
                      </a:lnTo>
                      <a:lnTo>
                        <a:pt x="0" y="10909"/>
                      </a:lnTo>
                      <a:lnTo>
                        <a:pt x="0" y="8811"/>
                      </a:lnTo>
                      <a:lnTo>
                        <a:pt x="0" y="6294"/>
                      </a:lnTo>
                      <a:lnTo>
                        <a:pt x="2051" y="3916"/>
                      </a:lnTo>
                      <a:lnTo>
                        <a:pt x="2949" y="2517"/>
                      </a:lnTo>
                      <a:lnTo>
                        <a:pt x="6282" y="699"/>
                      </a:lnTo>
                      <a:lnTo>
                        <a:pt x="10128" y="0"/>
                      </a:lnTo>
                      <a:lnTo>
                        <a:pt x="13718" y="699"/>
                      </a:lnTo>
                      <a:lnTo>
                        <a:pt x="16667" y="2517"/>
                      </a:lnTo>
                      <a:lnTo>
                        <a:pt x="18205" y="4615"/>
                      </a:lnTo>
                      <a:lnTo>
                        <a:pt x="19615" y="7832"/>
                      </a:lnTo>
                      <a:lnTo>
                        <a:pt x="19872" y="9930"/>
                      </a:lnTo>
                      <a:close/>
                    </a:path>
                  </a:pathLst>
                </a:custGeom>
                <a:solidFill>
                  <a:schemeClr val="accent2">
                    <a:lumMod val="75000"/>
                  </a:schemeClr>
                </a:solid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1" hangingPunct="1">
                    <a:defRPr/>
                  </a:pPr>
                  <a:endParaRPr lang="fr-FR" sz="1100">
                    <a:latin typeface="Arial" charset="0"/>
                  </a:endParaRPr>
                </a:p>
              </p:txBody>
            </p:sp>
          </p:grpSp>
          <p:sp>
            <p:nvSpPr>
              <p:cNvPr id="112" name="Légende encadrée 1 30">
                <a:extLst>
                  <a:ext uri="{FF2B5EF4-FFF2-40B4-BE49-F238E27FC236}">
                    <a16:creationId xmlns:a16="http://schemas.microsoft.com/office/drawing/2014/main" id="{B8A019DF-48C8-43D6-A703-70A4D258A498}"/>
                  </a:ext>
                </a:extLst>
              </p:cNvPr>
              <p:cNvSpPr>
                <a:spLocks/>
              </p:cNvSpPr>
              <p:nvPr/>
            </p:nvSpPr>
            <p:spPr bwMode="auto">
              <a:xfrm>
                <a:off x="1452294" y="5190216"/>
                <a:ext cx="1101973" cy="709166"/>
              </a:xfrm>
              <a:prstGeom prst="borderCallout1">
                <a:avLst>
                  <a:gd name="adj1" fmla="val -96403"/>
                  <a:gd name="adj2" fmla="val 93829"/>
                  <a:gd name="adj3" fmla="val -1965"/>
                  <a:gd name="adj4" fmla="val 50946"/>
                </a:avLst>
              </a:prstGeom>
              <a:solidFill>
                <a:schemeClr val="bg2"/>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lvl1pPr>
                  <a:spcBef>
                    <a:spcPct val="35000"/>
                  </a:spcBef>
                  <a:buClr>
                    <a:srgbClr val="F7B100"/>
                  </a:buClr>
                  <a:buFont typeface="Wingdings" panose="05000000000000000000" pitchFamily="2" charset="2"/>
                  <a:buChar char="§"/>
                  <a:defRPr>
                    <a:solidFill>
                      <a:schemeClr val="tx1"/>
                    </a:solidFill>
                    <a:latin typeface="Arial" panose="020B0604020202020204" pitchFamily="34" charset="0"/>
                  </a:defRPr>
                </a:lvl1pPr>
                <a:lvl2pPr marL="742950" indent="-285750">
                  <a:spcBef>
                    <a:spcPct val="30000"/>
                  </a:spcBef>
                  <a:buClr>
                    <a:srgbClr val="F7B100"/>
                  </a:buClr>
                  <a:buFont typeface="Wingdings" panose="05000000000000000000" pitchFamily="2" charset="2"/>
                  <a:buChar char="§"/>
                  <a:defRPr sz="1600">
                    <a:solidFill>
                      <a:schemeClr val="tx1"/>
                    </a:solidFill>
                    <a:latin typeface="Arial" panose="020B0604020202020204" pitchFamily="34" charset="0"/>
                  </a:defRPr>
                </a:lvl2pPr>
                <a:lvl3pPr marL="1143000" indent="-228600">
                  <a:spcBef>
                    <a:spcPct val="35000"/>
                  </a:spcBef>
                  <a:buFont typeface="Wingdings" panose="05000000000000000000" pitchFamily="2" charset="2"/>
                  <a:buChar char="§"/>
                  <a:defRPr sz="1400">
                    <a:solidFill>
                      <a:schemeClr val="tx1"/>
                    </a:solidFill>
                    <a:latin typeface="Arial" panose="020B0604020202020204" pitchFamily="34" charset="0"/>
                  </a:defRPr>
                </a:lvl3pPr>
                <a:lvl4pPr marL="1600200" indent="-228600">
                  <a:spcBef>
                    <a:spcPct val="40000"/>
                  </a:spcBef>
                  <a:buFont typeface="Wingdings" panose="05000000000000000000" pitchFamily="2" charset="2"/>
                  <a:defRPr sz="11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1" hangingPunct="1">
                  <a:spcBef>
                    <a:spcPct val="0"/>
                  </a:spcBef>
                  <a:buClrTx/>
                  <a:buFontTx/>
                  <a:buNone/>
                </a:pPr>
                <a:r>
                  <a:rPr lang="fr-FR" altLang="en-US" sz="1000" b="1" noProof="1"/>
                  <a:t>Préparation panneau</a:t>
                </a:r>
              </a:p>
            </p:txBody>
          </p:sp>
          <p:sp>
            <p:nvSpPr>
              <p:cNvPr id="113" name="Légende encadrée 1 30">
                <a:extLst>
                  <a:ext uri="{FF2B5EF4-FFF2-40B4-BE49-F238E27FC236}">
                    <a16:creationId xmlns:a16="http://schemas.microsoft.com/office/drawing/2014/main" id="{E27D05D3-619E-4E2E-A3FA-DC0ECAC8A423}"/>
                  </a:ext>
                </a:extLst>
              </p:cNvPr>
              <p:cNvSpPr>
                <a:spLocks/>
              </p:cNvSpPr>
              <p:nvPr/>
            </p:nvSpPr>
            <p:spPr bwMode="auto">
              <a:xfrm>
                <a:off x="3889246" y="5229285"/>
                <a:ext cx="1380472" cy="709166"/>
              </a:xfrm>
              <a:prstGeom prst="borderCallout1">
                <a:avLst>
                  <a:gd name="adj1" fmla="val -7527"/>
                  <a:gd name="adj2" fmla="val 57627"/>
                  <a:gd name="adj3" fmla="val -114657"/>
                  <a:gd name="adj4" fmla="val 61685"/>
                </a:avLst>
              </a:prstGeom>
              <a:solidFill>
                <a:schemeClr val="bg2"/>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lvl1pPr>
                  <a:spcBef>
                    <a:spcPct val="35000"/>
                  </a:spcBef>
                  <a:buClr>
                    <a:srgbClr val="F7B100"/>
                  </a:buClr>
                  <a:buFont typeface="Wingdings" panose="05000000000000000000" pitchFamily="2" charset="2"/>
                  <a:buChar char="§"/>
                  <a:defRPr>
                    <a:solidFill>
                      <a:schemeClr val="tx1"/>
                    </a:solidFill>
                    <a:latin typeface="Arial" panose="020B0604020202020204" pitchFamily="34" charset="0"/>
                  </a:defRPr>
                </a:lvl1pPr>
                <a:lvl2pPr marL="742950" indent="-285750">
                  <a:spcBef>
                    <a:spcPct val="30000"/>
                  </a:spcBef>
                  <a:buClr>
                    <a:srgbClr val="F7B100"/>
                  </a:buClr>
                  <a:buFont typeface="Wingdings" panose="05000000000000000000" pitchFamily="2" charset="2"/>
                  <a:buChar char="§"/>
                  <a:defRPr sz="1600">
                    <a:solidFill>
                      <a:schemeClr val="tx1"/>
                    </a:solidFill>
                    <a:latin typeface="Arial" panose="020B0604020202020204" pitchFamily="34" charset="0"/>
                  </a:defRPr>
                </a:lvl2pPr>
                <a:lvl3pPr marL="1143000" indent="-228600">
                  <a:spcBef>
                    <a:spcPct val="35000"/>
                  </a:spcBef>
                  <a:buFont typeface="Wingdings" panose="05000000000000000000" pitchFamily="2" charset="2"/>
                  <a:buChar char="§"/>
                  <a:defRPr sz="1400">
                    <a:solidFill>
                      <a:schemeClr val="tx1"/>
                    </a:solidFill>
                    <a:latin typeface="Arial" panose="020B0604020202020204" pitchFamily="34" charset="0"/>
                  </a:defRPr>
                </a:lvl3pPr>
                <a:lvl4pPr marL="1600200" indent="-228600">
                  <a:spcBef>
                    <a:spcPct val="40000"/>
                  </a:spcBef>
                  <a:buFont typeface="Wingdings" panose="05000000000000000000" pitchFamily="2" charset="2"/>
                  <a:defRPr sz="11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1" hangingPunct="1">
                  <a:spcBef>
                    <a:spcPct val="0"/>
                  </a:spcBef>
                  <a:buClrTx/>
                  <a:buFontTx/>
                  <a:buNone/>
                </a:pPr>
                <a:r>
                  <a:rPr lang="fr-FR" altLang="en-US" sz="1400" b="1" noProof="1">
                    <a:solidFill>
                      <a:srgbClr val="FF0000"/>
                    </a:solidFill>
                    <a:latin typeface="Times New Roman" panose="02020603050405020304" pitchFamily="18" charset="0"/>
                    <a:cs typeface="Times New Roman" panose="02020603050405020304" pitchFamily="18" charset="0"/>
                  </a:rPr>
                  <a:t>Montage des romaines barre de toit</a:t>
                </a:r>
                <a:endParaRPr lang="fr-FR" altLang="en-US" sz="1000" b="1" noProof="1">
                  <a:solidFill>
                    <a:srgbClr val="FF0000"/>
                  </a:solidFill>
                  <a:latin typeface="Times New Roman" panose="02020603050405020304" pitchFamily="18" charset="0"/>
                  <a:cs typeface="Times New Roman" panose="02020603050405020304" pitchFamily="18" charset="0"/>
                </a:endParaRPr>
              </a:p>
            </p:txBody>
          </p:sp>
          <p:sp>
            <p:nvSpPr>
              <p:cNvPr id="114" name="Légende encadrée 1 30">
                <a:extLst>
                  <a:ext uri="{FF2B5EF4-FFF2-40B4-BE49-F238E27FC236}">
                    <a16:creationId xmlns:a16="http://schemas.microsoft.com/office/drawing/2014/main" id="{B35570B0-C1B2-4F95-A063-FF65BEBD9EDF}"/>
                  </a:ext>
                </a:extLst>
              </p:cNvPr>
              <p:cNvSpPr>
                <a:spLocks/>
              </p:cNvSpPr>
              <p:nvPr/>
            </p:nvSpPr>
            <p:spPr bwMode="auto">
              <a:xfrm>
                <a:off x="5978886" y="5190216"/>
                <a:ext cx="1188934" cy="709166"/>
              </a:xfrm>
              <a:prstGeom prst="borderCallout1">
                <a:avLst>
                  <a:gd name="adj1" fmla="val -5070"/>
                  <a:gd name="adj2" fmla="val 37157"/>
                  <a:gd name="adj3" fmla="val -106729"/>
                  <a:gd name="adj4" fmla="val 42301"/>
                </a:avLst>
              </a:prstGeom>
              <a:solidFill>
                <a:schemeClr val="bg2"/>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lvl1pPr>
                  <a:spcBef>
                    <a:spcPct val="35000"/>
                  </a:spcBef>
                  <a:buClr>
                    <a:srgbClr val="F7B100"/>
                  </a:buClr>
                  <a:buFont typeface="Wingdings" panose="05000000000000000000" pitchFamily="2" charset="2"/>
                  <a:buChar char="§"/>
                  <a:defRPr>
                    <a:solidFill>
                      <a:schemeClr val="tx1"/>
                    </a:solidFill>
                    <a:latin typeface="Arial" panose="020B0604020202020204" pitchFamily="34" charset="0"/>
                  </a:defRPr>
                </a:lvl1pPr>
                <a:lvl2pPr marL="742950" indent="-285750">
                  <a:spcBef>
                    <a:spcPct val="30000"/>
                  </a:spcBef>
                  <a:buClr>
                    <a:srgbClr val="F7B100"/>
                  </a:buClr>
                  <a:buFont typeface="Wingdings" panose="05000000000000000000" pitchFamily="2" charset="2"/>
                  <a:buChar char="§"/>
                  <a:defRPr sz="1600">
                    <a:solidFill>
                      <a:schemeClr val="tx1"/>
                    </a:solidFill>
                    <a:latin typeface="Arial" panose="020B0604020202020204" pitchFamily="34" charset="0"/>
                  </a:defRPr>
                </a:lvl2pPr>
                <a:lvl3pPr marL="1143000" indent="-228600">
                  <a:spcBef>
                    <a:spcPct val="35000"/>
                  </a:spcBef>
                  <a:buFont typeface="Wingdings" panose="05000000000000000000" pitchFamily="2" charset="2"/>
                  <a:buChar char="§"/>
                  <a:defRPr sz="1400">
                    <a:solidFill>
                      <a:schemeClr val="tx1"/>
                    </a:solidFill>
                    <a:latin typeface="Arial" panose="020B0604020202020204" pitchFamily="34" charset="0"/>
                  </a:defRPr>
                </a:lvl3pPr>
                <a:lvl4pPr marL="1600200" indent="-228600">
                  <a:spcBef>
                    <a:spcPct val="40000"/>
                  </a:spcBef>
                  <a:buFont typeface="Wingdings" panose="05000000000000000000" pitchFamily="2" charset="2"/>
                  <a:defRPr sz="11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a:spcBef>
                    <a:spcPct val="0"/>
                  </a:spcBef>
                  <a:buClrTx/>
                  <a:buNone/>
                </a:pPr>
                <a:r>
                  <a:rPr lang="fr-FR" altLang="en-US" sz="1000" b="1" noProof="1"/>
                  <a:t>Mariage peau &amp; doublure</a:t>
                </a:r>
              </a:p>
            </p:txBody>
          </p:sp>
          <p:sp>
            <p:nvSpPr>
              <p:cNvPr id="115" name="Légende encadrée 1 30">
                <a:extLst>
                  <a:ext uri="{FF2B5EF4-FFF2-40B4-BE49-F238E27FC236}">
                    <a16:creationId xmlns:a16="http://schemas.microsoft.com/office/drawing/2014/main" id="{2B788EF7-989F-4B79-852F-8BB5F163EE5F}"/>
                  </a:ext>
                </a:extLst>
              </p:cNvPr>
              <p:cNvSpPr>
                <a:spLocks/>
              </p:cNvSpPr>
              <p:nvPr/>
            </p:nvSpPr>
            <p:spPr bwMode="auto">
              <a:xfrm>
                <a:off x="7982981" y="5190216"/>
                <a:ext cx="991632" cy="709166"/>
              </a:xfrm>
              <a:prstGeom prst="borderCallout1">
                <a:avLst>
                  <a:gd name="adj1" fmla="val -112520"/>
                  <a:gd name="adj2" fmla="val 37158"/>
                  <a:gd name="adj3" fmla="val -4651"/>
                  <a:gd name="adj4" fmla="val 32695"/>
                </a:avLst>
              </a:prstGeom>
              <a:solidFill>
                <a:schemeClr val="bg2"/>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lvl1pPr>
                  <a:spcBef>
                    <a:spcPct val="35000"/>
                  </a:spcBef>
                  <a:buClr>
                    <a:srgbClr val="F7B100"/>
                  </a:buClr>
                  <a:buFont typeface="Wingdings" panose="05000000000000000000" pitchFamily="2" charset="2"/>
                  <a:buChar char="§"/>
                  <a:defRPr>
                    <a:solidFill>
                      <a:schemeClr val="tx1"/>
                    </a:solidFill>
                    <a:latin typeface="Arial" panose="020B0604020202020204" pitchFamily="34" charset="0"/>
                  </a:defRPr>
                </a:lvl1pPr>
                <a:lvl2pPr marL="742950" indent="-285750">
                  <a:spcBef>
                    <a:spcPct val="30000"/>
                  </a:spcBef>
                  <a:buClr>
                    <a:srgbClr val="F7B100"/>
                  </a:buClr>
                  <a:buFont typeface="Wingdings" panose="05000000000000000000" pitchFamily="2" charset="2"/>
                  <a:buChar char="§"/>
                  <a:defRPr sz="1600">
                    <a:solidFill>
                      <a:schemeClr val="tx1"/>
                    </a:solidFill>
                    <a:latin typeface="Arial" panose="020B0604020202020204" pitchFamily="34" charset="0"/>
                  </a:defRPr>
                </a:lvl2pPr>
                <a:lvl3pPr marL="1143000" indent="-228600">
                  <a:spcBef>
                    <a:spcPct val="35000"/>
                  </a:spcBef>
                  <a:buFont typeface="Wingdings" panose="05000000000000000000" pitchFamily="2" charset="2"/>
                  <a:buChar char="§"/>
                  <a:defRPr sz="1400">
                    <a:solidFill>
                      <a:schemeClr val="tx1"/>
                    </a:solidFill>
                    <a:latin typeface="Arial" panose="020B0604020202020204" pitchFamily="34" charset="0"/>
                  </a:defRPr>
                </a:lvl3pPr>
                <a:lvl4pPr marL="1600200" indent="-228600">
                  <a:spcBef>
                    <a:spcPct val="40000"/>
                  </a:spcBef>
                  <a:buFont typeface="Wingdings" panose="05000000000000000000" pitchFamily="2" charset="2"/>
                  <a:defRPr sz="11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a:spcBef>
                    <a:spcPct val="0"/>
                  </a:spcBef>
                  <a:buClrTx/>
                  <a:buNone/>
                </a:pPr>
                <a:r>
                  <a:rPr lang="fr-FR" altLang="en-US" sz="1000" b="1" noProof="1"/>
                  <a:t>Finition CDC</a:t>
                </a:r>
              </a:p>
            </p:txBody>
          </p:sp>
        </p:grpSp>
        <p:pic>
          <p:nvPicPr>
            <p:cNvPr id="247" name="Picture 246">
              <a:extLst>
                <a:ext uri="{FF2B5EF4-FFF2-40B4-BE49-F238E27FC236}">
                  <a16:creationId xmlns:a16="http://schemas.microsoft.com/office/drawing/2014/main" id="{F2B5ACDF-CFD9-4E79-9058-5FED913A56B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78284" y="1870851"/>
              <a:ext cx="2276797" cy="1331329"/>
            </a:xfrm>
            <a:prstGeom prst="rect">
              <a:avLst/>
            </a:prstGeom>
          </p:spPr>
        </p:pic>
      </p:grpSp>
      <p:grpSp>
        <p:nvGrpSpPr>
          <p:cNvPr id="20" name="Group 19">
            <a:extLst>
              <a:ext uri="{FF2B5EF4-FFF2-40B4-BE49-F238E27FC236}">
                <a16:creationId xmlns:a16="http://schemas.microsoft.com/office/drawing/2014/main" id="{6D279958-6ADB-4955-AE5D-9FE1A933B46F}"/>
              </a:ext>
            </a:extLst>
          </p:cNvPr>
          <p:cNvGrpSpPr/>
          <p:nvPr/>
        </p:nvGrpSpPr>
        <p:grpSpPr>
          <a:xfrm>
            <a:off x="-6669252" y="1539991"/>
            <a:ext cx="6567393" cy="4873743"/>
            <a:chOff x="-5369258" y="85360"/>
            <a:chExt cx="6339998" cy="4754999"/>
          </a:xfrm>
        </p:grpSpPr>
        <p:pic>
          <p:nvPicPr>
            <p:cNvPr id="246" name="Picture 245">
              <a:extLst>
                <a:ext uri="{FF2B5EF4-FFF2-40B4-BE49-F238E27FC236}">
                  <a16:creationId xmlns:a16="http://schemas.microsoft.com/office/drawing/2014/main" id="{B4C17605-7B83-4E8B-BD77-974E43FC264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69258" y="85360"/>
              <a:ext cx="6339998" cy="4754999"/>
            </a:xfrm>
            <a:prstGeom prst="rect">
              <a:avLst/>
            </a:prstGeom>
          </p:spPr>
        </p:pic>
        <p:sp>
          <p:nvSpPr>
            <p:cNvPr id="6" name="TextBox 5">
              <a:extLst>
                <a:ext uri="{FF2B5EF4-FFF2-40B4-BE49-F238E27FC236}">
                  <a16:creationId xmlns:a16="http://schemas.microsoft.com/office/drawing/2014/main" id="{5FE2F3BD-9E2C-412B-8D39-0380DE365529}"/>
                </a:ext>
              </a:extLst>
            </p:cNvPr>
            <p:cNvSpPr txBox="1"/>
            <p:nvPr/>
          </p:nvSpPr>
          <p:spPr>
            <a:xfrm>
              <a:off x="-3438706" y="4189789"/>
              <a:ext cx="2701703" cy="461665"/>
            </a:xfrm>
            <a:prstGeom prst="rect">
              <a:avLst/>
            </a:prstGeom>
            <a:noFill/>
          </p:spPr>
          <p:txBody>
            <a:bodyPr wrap="square" rtlCol="0">
              <a:spAutoFit/>
            </a:bodyPr>
            <a:lstStyle/>
            <a:p>
              <a:r>
                <a:rPr lang="fr-FR" sz="2400" b="1" dirty="0">
                  <a:solidFill>
                    <a:schemeClr val="bg1"/>
                  </a:solidFill>
                  <a:latin typeface="Times New Roman" panose="02020603050405020304" pitchFamily="18" charset="0"/>
                  <a:cs typeface="Times New Roman" panose="02020603050405020304" pitchFamily="18" charset="0"/>
                </a:rPr>
                <a:t>POSTE CCD 500</a:t>
              </a:r>
            </a:p>
          </p:txBody>
        </p:sp>
      </p:grpSp>
      <p:grpSp>
        <p:nvGrpSpPr>
          <p:cNvPr id="22" name="Group 21">
            <a:extLst>
              <a:ext uri="{FF2B5EF4-FFF2-40B4-BE49-F238E27FC236}">
                <a16:creationId xmlns:a16="http://schemas.microsoft.com/office/drawing/2014/main" id="{8E0E07BD-4969-4BEF-97C0-E193E0150B14}"/>
              </a:ext>
            </a:extLst>
          </p:cNvPr>
          <p:cNvGrpSpPr/>
          <p:nvPr/>
        </p:nvGrpSpPr>
        <p:grpSpPr>
          <a:xfrm>
            <a:off x="12310035" y="1658584"/>
            <a:ext cx="5514245" cy="4167673"/>
            <a:chOff x="4804599" y="-222325"/>
            <a:chExt cx="5238803" cy="3929102"/>
          </a:xfrm>
        </p:grpSpPr>
        <p:pic>
          <p:nvPicPr>
            <p:cNvPr id="4" name="Picture 3">
              <a:extLst>
                <a:ext uri="{FF2B5EF4-FFF2-40B4-BE49-F238E27FC236}">
                  <a16:creationId xmlns:a16="http://schemas.microsoft.com/office/drawing/2014/main" id="{15705757-1927-4A6F-859A-0C77DCC9928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804599" y="-222325"/>
              <a:ext cx="5238803" cy="3929102"/>
            </a:xfrm>
            <a:prstGeom prst="rect">
              <a:avLst/>
            </a:prstGeom>
          </p:spPr>
        </p:pic>
        <p:cxnSp>
          <p:nvCxnSpPr>
            <p:cNvPr id="8" name="Connector: Elbow 7">
              <a:extLst>
                <a:ext uri="{FF2B5EF4-FFF2-40B4-BE49-F238E27FC236}">
                  <a16:creationId xmlns:a16="http://schemas.microsoft.com/office/drawing/2014/main" id="{E2108949-5F3A-4CB5-9E30-7B19D31363A3}"/>
                </a:ext>
              </a:extLst>
            </p:cNvPr>
            <p:cNvCxnSpPr>
              <a:cxnSpLocks/>
            </p:cNvCxnSpPr>
            <p:nvPr/>
          </p:nvCxnSpPr>
          <p:spPr>
            <a:xfrm rot="16200000" flipH="1">
              <a:off x="7071065" y="651596"/>
              <a:ext cx="1134590" cy="977446"/>
            </a:xfrm>
            <a:prstGeom prst="bentConnector3">
              <a:avLst>
                <a:gd name="adj1" fmla="val -505"/>
              </a:avLst>
            </a:prstGeom>
            <a:ln w="38100">
              <a:solidFill>
                <a:srgbClr val="F61C19"/>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9652D50-A93E-4527-A2F1-59485E1D4012}"/>
                </a:ext>
              </a:extLst>
            </p:cNvPr>
            <p:cNvSpPr txBox="1"/>
            <p:nvPr/>
          </p:nvSpPr>
          <p:spPr>
            <a:xfrm>
              <a:off x="6388083" y="-84395"/>
              <a:ext cx="2325010" cy="707886"/>
            </a:xfrm>
            <a:prstGeom prst="rect">
              <a:avLst/>
            </a:prstGeom>
            <a:noFill/>
          </p:spPr>
          <p:txBody>
            <a:bodyPr wrap="square" rtlCol="0">
              <a:spAutoFit/>
            </a:bodyPr>
            <a:lstStyle/>
            <a:p>
              <a:r>
                <a:rPr lang="fr-FR" sz="2000" b="1" dirty="0">
                  <a:solidFill>
                    <a:schemeClr val="bg1"/>
                  </a:solidFill>
                  <a:latin typeface="Times New Roman" panose="02020603050405020304" pitchFamily="18" charset="0"/>
                  <a:cs typeface="Times New Roman" panose="02020603050405020304" pitchFamily="18" charset="0"/>
                </a:rPr>
                <a:t>Pilote de fixation des romaines</a:t>
              </a:r>
            </a:p>
          </p:txBody>
        </p:sp>
      </p:grpSp>
      <p:grpSp>
        <p:nvGrpSpPr>
          <p:cNvPr id="24" name="Group 23">
            <a:extLst>
              <a:ext uri="{FF2B5EF4-FFF2-40B4-BE49-F238E27FC236}">
                <a16:creationId xmlns:a16="http://schemas.microsoft.com/office/drawing/2014/main" id="{D6327577-7DCD-413C-963C-838CB5C5C919}"/>
              </a:ext>
            </a:extLst>
          </p:cNvPr>
          <p:cNvGrpSpPr/>
          <p:nvPr/>
        </p:nvGrpSpPr>
        <p:grpSpPr>
          <a:xfrm>
            <a:off x="1544892" y="1736659"/>
            <a:ext cx="9260122" cy="4557446"/>
            <a:chOff x="1544892" y="1736659"/>
            <a:chExt cx="9260122" cy="4557446"/>
          </a:xfrm>
        </p:grpSpPr>
        <p:grpSp>
          <p:nvGrpSpPr>
            <p:cNvPr id="251" name="Group 250">
              <a:extLst>
                <a:ext uri="{FF2B5EF4-FFF2-40B4-BE49-F238E27FC236}">
                  <a16:creationId xmlns:a16="http://schemas.microsoft.com/office/drawing/2014/main" id="{2A61321E-1ED4-4C8F-989A-599211C338C4}"/>
                </a:ext>
              </a:extLst>
            </p:cNvPr>
            <p:cNvGrpSpPr/>
            <p:nvPr/>
          </p:nvGrpSpPr>
          <p:grpSpPr>
            <a:xfrm>
              <a:off x="1544892" y="1736659"/>
              <a:ext cx="9260122" cy="4557446"/>
              <a:chOff x="418776" y="290147"/>
              <a:chExt cx="6393800" cy="3071962"/>
            </a:xfrm>
          </p:grpSpPr>
          <p:grpSp>
            <p:nvGrpSpPr>
              <p:cNvPr id="253" name="Group 252">
                <a:extLst>
                  <a:ext uri="{FF2B5EF4-FFF2-40B4-BE49-F238E27FC236}">
                    <a16:creationId xmlns:a16="http://schemas.microsoft.com/office/drawing/2014/main" id="{210CE875-7386-4082-BC90-5F1193BE5E37}"/>
                  </a:ext>
                </a:extLst>
              </p:cNvPr>
              <p:cNvGrpSpPr/>
              <p:nvPr/>
            </p:nvGrpSpPr>
            <p:grpSpPr>
              <a:xfrm>
                <a:off x="4776635" y="290147"/>
                <a:ext cx="2035941" cy="3071962"/>
                <a:chOff x="1497053" y="0"/>
                <a:chExt cx="859605" cy="3093989"/>
              </a:xfrm>
            </p:grpSpPr>
            <p:sp>
              <p:nvSpPr>
                <p:cNvPr id="255" name="Rectangle à coins arrondis 160">
                  <a:extLst>
                    <a:ext uri="{FF2B5EF4-FFF2-40B4-BE49-F238E27FC236}">
                      <a16:creationId xmlns:a16="http://schemas.microsoft.com/office/drawing/2014/main" id="{71F48DBD-E443-49CA-A391-C59E79F54D97}"/>
                    </a:ext>
                  </a:extLst>
                </p:cNvPr>
                <p:cNvSpPr/>
                <p:nvPr/>
              </p:nvSpPr>
              <p:spPr bwMode="auto">
                <a:xfrm>
                  <a:off x="1538932" y="388968"/>
                  <a:ext cx="775849" cy="1668470"/>
                </a:xfrm>
                <a:prstGeom prst="roundRect">
                  <a:avLst/>
                </a:prstGeom>
                <a:pattFill prst="lgConfetti">
                  <a:fgClr>
                    <a:schemeClr val="tx2">
                      <a:lumMod val="25000"/>
                      <a:lumOff val="75000"/>
                    </a:schemeClr>
                  </a:fgClr>
                  <a:bgClr>
                    <a:schemeClr val="bg1"/>
                  </a:bgClr>
                </a:pattFill>
                <a:ln w="9525" cap="flat" cmpd="sng" algn="ctr">
                  <a:noFill/>
                  <a:prstDash val="solid"/>
                  <a:round/>
                  <a:headEnd type="none" w="med" len="med"/>
                  <a:tailEnd type="none" w="med" len="med"/>
                </a:ln>
                <a:effectLst/>
              </p:spPr>
              <p:txBody>
                <a:bodyPr lIns="90000" tIns="46800" rIns="90000" bIns="46800" anchor="ctr"/>
                <a:lstStyle/>
                <a:p>
                  <a:endParaRPr lang="fr-FR"/>
                </a:p>
              </p:txBody>
            </p:sp>
            <p:sp>
              <p:nvSpPr>
                <p:cNvPr id="256" name="Rectangle à coins arrondis 155">
                  <a:extLst>
                    <a:ext uri="{FF2B5EF4-FFF2-40B4-BE49-F238E27FC236}">
                      <a16:creationId xmlns:a16="http://schemas.microsoft.com/office/drawing/2014/main" id="{CFE31DB9-3469-4954-AC3E-7F91570B5514}"/>
                    </a:ext>
                  </a:extLst>
                </p:cNvPr>
                <p:cNvSpPr>
                  <a:spLocks noChangeArrowheads="1"/>
                </p:cNvSpPr>
                <p:nvPr/>
              </p:nvSpPr>
              <p:spPr bwMode="auto">
                <a:xfrm>
                  <a:off x="1662362" y="1041783"/>
                  <a:ext cx="614948" cy="462910"/>
                </a:xfrm>
                <a:prstGeom prst="roundRect">
                  <a:avLst>
                    <a:gd name="adj" fmla="val 16667"/>
                  </a:avLst>
                </a:prstGeom>
                <a:solidFill>
                  <a:srgbClr val="FFC000"/>
                </a:solidFill>
                <a:ln>
                  <a:noFill/>
                </a:ln>
                <a:extLst>
                  <a:ext uri="{91240B29-F687-4F45-9708-019B960494DF}">
                    <a14:hiddenLine xmlns:a14="http://schemas.microsoft.com/office/drawing/2010/main" w="9525" algn="ctr">
                      <a:solidFill>
                        <a:srgbClr val="000000"/>
                      </a:solidFill>
                      <a:round/>
                      <a:headEnd/>
                      <a:tailEnd/>
                    </a14:hiddenLine>
                  </a:ext>
                </a:extLst>
              </p:spPr>
              <p:txBody>
                <a:bodyPr lIns="90000" tIns="46800" rIns="90000" bIns="46800" anchor="ctr"/>
                <a:lstStyle/>
                <a:p>
                  <a:endParaRPr lang="fr-FR"/>
                </a:p>
              </p:txBody>
            </p:sp>
            <p:pic>
              <p:nvPicPr>
                <p:cNvPr id="257" name="Image 680">
                  <a:extLst>
                    <a:ext uri="{FF2B5EF4-FFF2-40B4-BE49-F238E27FC236}">
                      <a16:creationId xmlns:a16="http://schemas.microsoft.com/office/drawing/2014/main" id="{1DD8EC12-4792-426C-9F9F-D2B372BEA40D}"/>
                    </a:ext>
                  </a:extLst>
                </p:cNvPr>
                <p:cNvPicPr>
                  <a:picLocks noChangeAspect="1"/>
                </p:cNvPicPr>
                <p:nvPr/>
              </p:nvPicPr>
              <p:blipFill>
                <a:blip r:embed="rId10">
                  <a:extLst>
                    <a:ext uri="{28A0092B-C50C-407E-A947-70E740481C1C}">
                      <a14:useLocalDpi xmlns:a14="http://schemas.microsoft.com/office/drawing/2010/main" val="0"/>
                    </a:ext>
                  </a:extLst>
                </a:blip>
                <a:srcRect l="6493" t="11084" r="11684" b="11169"/>
                <a:stretch>
                  <a:fillRect/>
                </a:stretch>
              </p:blipFill>
              <p:spPr bwMode="auto">
                <a:xfrm>
                  <a:off x="1713626" y="1070428"/>
                  <a:ext cx="478418" cy="382245"/>
                </a:xfrm>
                <a:prstGeom prst="rect">
                  <a:avLst/>
                </a:prstGeom>
                <a:solidFill>
                  <a:srgbClr val="F2F2F2"/>
                </a:solidFill>
                <a:ln w="9525" algn="ctr">
                  <a:solidFill>
                    <a:schemeClr val="tx1"/>
                  </a:solidFill>
                  <a:prstDash val="sysDash"/>
                  <a:round/>
                  <a:headEnd/>
                  <a:tailEnd/>
                </a:ln>
              </p:spPr>
            </p:pic>
            <p:sp>
              <p:nvSpPr>
                <p:cNvPr id="258" name="Rectangle 257">
                  <a:extLst>
                    <a:ext uri="{FF2B5EF4-FFF2-40B4-BE49-F238E27FC236}">
                      <a16:creationId xmlns:a16="http://schemas.microsoft.com/office/drawing/2014/main" id="{BF340059-A79B-46FE-B3F4-DB69C4B1304A}"/>
                    </a:ext>
                  </a:extLst>
                </p:cNvPr>
                <p:cNvSpPr>
                  <a:spLocks noChangeArrowheads="1"/>
                </p:cNvSpPr>
                <p:nvPr/>
              </p:nvSpPr>
              <p:spPr bwMode="auto">
                <a:xfrm>
                  <a:off x="1497053" y="332668"/>
                  <a:ext cx="859605" cy="1827130"/>
                </a:xfrm>
                <a:prstGeom prst="rect">
                  <a:avLst/>
                </a:prstGeom>
                <a:noFill/>
                <a:ln w="15875" algn="ctr">
                  <a:solidFill>
                    <a:srgbClr val="FF0000"/>
                  </a:solidFill>
                  <a:prstDash val="sysDash"/>
                  <a:round/>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lstStyle/>
                <a:p>
                  <a:endParaRPr lang="fr-FR"/>
                </a:p>
              </p:txBody>
            </p:sp>
            <p:cxnSp>
              <p:nvCxnSpPr>
                <p:cNvPr id="259" name="Connecteur droit 1101">
                  <a:extLst>
                    <a:ext uri="{FF2B5EF4-FFF2-40B4-BE49-F238E27FC236}">
                      <a16:creationId xmlns:a16="http://schemas.microsoft.com/office/drawing/2014/main" id="{B4C24E1B-C6BE-420C-852A-8F91DD867C42}"/>
                    </a:ext>
                  </a:extLst>
                </p:cNvPr>
                <p:cNvCxnSpPr>
                  <a:cxnSpLocks noChangeShapeType="1"/>
                </p:cNvCxnSpPr>
                <p:nvPr/>
              </p:nvCxnSpPr>
              <p:spPr bwMode="auto">
                <a:xfrm>
                  <a:off x="1655749" y="342904"/>
                  <a:ext cx="445231" cy="0"/>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60" name="Group 259">
                  <a:extLst>
                    <a:ext uri="{FF2B5EF4-FFF2-40B4-BE49-F238E27FC236}">
                      <a16:creationId xmlns:a16="http://schemas.microsoft.com/office/drawing/2014/main" id="{BF45B4B3-0171-416E-8745-80C9A080C196}"/>
                    </a:ext>
                  </a:extLst>
                </p:cNvPr>
                <p:cNvGrpSpPr>
                  <a:grpSpLocks/>
                </p:cNvGrpSpPr>
                <p:nvPr/>
              </p:nvGrpSpPr>
              <p:grpSpPr bwMode="auto">
                <a:xfrm rot="2891457">
                  <a:off x="1555360" y="489040"/>
                  <a:ext cx="348106" cy="201326"/>
                  <a:chOff x="1555308" y="488982"/>
                  <a:chExt cx="20000" cy="20000"/>
                </a:xfrm>
                <a:solidFill>
                  <a:schemeClr val="accent2">
                    <a:lumMod val="75000"/>
                  </a:schemeClr>
                </a:solidFill>
              </p:grpSpPr>
              <p:sp>
                <p:nvSpPr>
                  <p:cNvPr id="272" name="Freeform 36">
                    <a:extLst>
                      <a:ext uri="{FF2B5EF4-FFF2-40B4-BE49-F238E27FC236}">
                        <a16:creationId xmlns:a16="http://schemas.microsoft.com/office/drawing/2014/main" id="{C2C0A05C-E4B2-4321-9243-D6D071DF3E89}"/>
                      </a:ext>
                    </a:extLst>
                  </p:cNvPr>
                  <p:cNvSpPr>
                    <a:spLocks/>
                  </p:cNvSpPr>
                  <p:nvPr/>
                </p:nvSpPr>
                <p:spPr bwMode="auto">
                  <a:xfrm>
                    <a:off x="1555593" y="488982"/>
                    <a:ext cx="19715" cy="20000"/>
                  </a:xfrm>
                  <a:custGeom>
                    <a:avLst/>
                    <a:gdLst>
                      <a:gd name="T0" fmla="*/ 15333 w 20000"/>
                      <a:gd name="T1" fmla="*/ 3594 h 20000"/>
                      <a:gd name="T2" fmla="*/ 11514 w 20000"/>
                      <a:gd name="T3" fmla="*/ 2673 h 20000"/>
                      <a:gd name="T4" fmla="*/ 6456 w 20000"/>
                      <a:gd name="T5" fmla="*/ 5945 h 20000"/>
                      <a:gd name="T6" fmla="*/ 6456 w 20000"/>
                      <a:gd name="T7" fmla="*/ 13779 h 20000"/>
                      <a:gd name="T8" fmla="*/ 11514 w 20000"/>
                      <a:gd name="T9" fmla="*/ 17143 h 20000"/>
                      <a:gd name="T10" fmla="*/ 15064 w 20000"/>
                      <a:gd name="T11" fmla="*/ 16590 h 20000"/>
                      <a:gd name="T12" fmla="*/ 18562 w 20000"/>
                      <a:gd name="T13" fmla="*/ 18664 h 20000"/>
                      <a:gd name="T14" fmla="*/ 9846 w 20000"/>
                      <a:gd name="T15" fmla="*/ 19954 h 20000"/>
                      <a:gd name="T16" fmla="*/ 1776 w 20000"/>
                      <a:gd name="T17" fmla="*/ 16359 h 20000"/>
                      <a:gd name="T18" fmla="*/ 0 w 20000"/>
                      <a:gd name="T19" fmla="*/ 12120 h 20000"/>
                      <a:gd name="T20" fmla="*/ 0 w 20000"/>
                      <a:gd name="T21" fmla="*/ 5392 h 20000"/>
                      <a:gd name="T22" fmla="*/ 1937 w 20000"/>
                      <a:gd name="T23" fmla="*/ 1843 h 20000"/>
                      <a:gd name="T24" fmla="*/ 11514 w 20000"/>
                      <a:gd name="T25" fmla="*/ 0 h 20000"/>
                      <a:gd name="T26" fmla="*/ 18562 w 20000"/>
                      <a:gd name="T27" fmla="*/ 1982 h 20000"/>
                      <a:gd name="T28" fmla="*/ 15333 w 20000"/>
                      <a:gd name="T29" fmla="*/ 3594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000" h="20000">
                        <a:moveTo>
                          <a:pt x="16474" y="3594"/>
                        </a:moveTo>
                        <a:lnTo>
                          <a:pt x="12370" y="2673"/>
                        </a:lnTo>
                        <a:lnTo>
                          <a:pt x="6936" y="5945"/>
                        </a:lnTo>
                        <a:lnTo>
                          <a:pt x="6936" y="13779"/>
                        </a:lnTo>
                        <a:lnTo>
                          <a:pt x="12370" y="17143"/>
                        </a:lnTo>
                        <a:lnTo>
                          <a:pt x="16185" y="16590"/>
                        </a:lnTo>
                        <a:lnTo>
                          <a:pt x="19942" y="18664"/>
                        </a:lnTo>
                        <a:lnTo>
                          <a:pt x="10578" y="19954"/>
                        </a:lnTo>
                        <a:lnTo>
                          <a:pt x="1908" y="16359"/>
                        </a:lnTo>
                        <a:lnTo>
                          <a:pt x="0" y="12120"/>
                        </a:lnTo>
                        <a:lnTo>
                          <a:pt x="0" y="5392"/>
                        </a:lnTo>
                        <a:lnTo>
                          <a:pt x="2081" y="1843"/>
                        </a:lnTo>
                        <a:lnTo>
                          <a:pt x="12370" y="0"/>
                        </a:lnTo>
                        <a:lnTo>
                          <a:pt x="19942" y="1982"/>
                        </a:lnTo>
                        <a:lnTo>
                          <a:pt x="16474" y="3594"/>
                        </a:lnTo>
                        <a:close/>
                      </a:path>
                    </a:pathLst>
                  </a:custGeom>
                  <a:grp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fr-FR"/>
                  </a:p>
                </p:txBody>
              </p:sp>
              <p:sp>
                <p:nvSpPr>
                  <p:cNvPr id="273" name="Freeform 37">
                    <a:extLst>
                      <a:ext uri="{FF2B5EF4-FFF2-40B4-BE49-F238E27FC236}">
                        <a16:creationId xmlns:a16="http://schemas.microsoft.com/office/drawing/2014/main" id="{7C9A4FCA-9508-45FF-A59B-3147AFA28C1E}"/>
                      </a:ext>
                    </a:extLst>
                  </p:cNvPr>
                  <p:cNvSpPr>
                    <a:spLocks/>
                  </p:cNvSpPr>
                  <p:nvPr/>
                </p:nvSpPr>
                <p:spPr bwMode="auto">
                  <a:xfrm>
                    <a:off x="1555308" y="495295"/>
                    <a:ext cx="8889" cy="6590"/>
                  </a:xfrm>
                  <a:custGeom>
                    <a:avLst/>
                    <a:gdLst>
                      <a:gd name="T0" fmla="*/ 344 w 20000"/>
                      <a:gd name="T1" fmla="*/ 39 h 20000"/>
                      <a:gd name="T2" fmla="*/ 340 w 20000"/>
                      <a:gd name="T3" fmla="*/ 47 h 20000"/>
                      <a:gd name="T4" fmla="*/ 316 w 20000"/>
                      <a:gd name="T5" fmla="*/ 59 h 20000"/>
                      <a:gd name="T6" fmla="*/ 289 w 20000"/>
                      <a:gd name="T7" fmla="*/ 67 h 20000"/>
                      <a:gd name="T8" fmla="*/ 260 w 20000"/>
                      <a:gd name="T9" fmla="*/ 72 h 20000"/>
                      <a:gd name="T10" fmla="*/ 238 w 20000"/>
                      <a:gd name="T11" fmla="*/ 74 h 20000"/>
                      <a:gd name="T12" fmla="*/ 176 w 20000"/>
                      <a:gd name="T13" fmla="*/ 77 h 20000"/>
                      <a:gd name="T14" fmla="*/ 109 w 20000"/>
                      <a:gd name="T15" fmla="*/ 74 h 20000"/>
                      <a:gd name="T16" fmla="*/ 62 w 20000"/>
                      <a:gd name="T17" fmla="*/ 69 h 20000"/>
                      <a:gd name="T18" fmla="*/ 36 w 20000"/>
                      <a:gd name="T19" fmla="*/ 62 h 20000"/>
                      <a:gd name="T20" fmla="*/ 11 w 20000"/>
                      <a:gd name="T21" fmla="*/ 55 h 20000"/>
                      <a:gd name="T22" fmla="*/ 0 w 20000"/>
                      <a:gd name="T23" fmla="*/ 43 h 20000"/>
                      <a:gd name="T24" fmla="*/ 0 w 20000"/>
                      <a:gd name="T25" fmla="*/ 34 h 20000"/>
                      <a:gd name="T26" fmla="*/ 0 w 20000"/>
                      <a:gd name="T27" fmla="*/ 24 h 20000"/>
                      <a:gd name="T28" fmla="*/ 36 w 20000"/>
                      <a:gd name="T29" fmla="*/ 15 h 20000"/>
                      <a:gd name="T30" fmla="*/ 51 w 20000"/>
                      <a:gd name="T31" fmla="*/ 10 h 20000"/>
                      <a:gd name="T32" fmla="*/ 109 w 20000"/>
                      <a:gd name="T33" fmla="*/ 3 h 20000"/>
                      <a:gd name="T34" fmla="*/ 176 w 20000"/>
                      <a:gd name="T35" fmla="*/ 0 h 20000"/>
                      <a:gd name="T36" fmla="*/ 238 w 20000"/>
                      <a:gd name="T37" fmla="*/ 3 h 20000"/>
                      <a:gd name="T38" fmla="*/ 289 w 20000"/>
                      <a:gd name="T39" fmla="*/ 10 h 20000"/>
                      <a:gd name="T40" fmla="*/ 316 w 20000"/>
                      <a:gd name="T41" fmla="*/ 18 h 20000"/>
                      <a:gd name="T42" fmla="*/ 340 w 20000"/>
                      <a:gd name="T43" fmla="*/ 30 h 20000"/>
                      <a:gd name="T44" fmla="*/ 344 w 20000"/>
                      <a:gd name="T45" fmla="*/ 39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19872" y="9930"/>
                        </a:moveTo>
                        <a:lnTo>
                          <a:pt x="19615" y="12028"/>
                        </a:lnTo>
                        <a:lnTo>
                          <a:pt x="18205" y="15245"/>
                        </a:lnTo>
                        <a:lnTo>
                          <a:pt x="16667" y="17343"/>
                        </a:lnTo>
                        <a:lnTo>
                          <a:pt x="15000" y="18462"/>
                        </a:lnTo>
                        <a:lnTo>
                          <a:pt x="13718" y="19161"/>
                        </a:lnTo>
                        <a:lnTo>
                          <a:pt x="10128" y="19860"/>
                        </a:lnTo>
                        <a:lnTo>
                          <a:pt x="6282" y="19161"/>
                        </a:lnTo>
                        <a:lnTo>
                          <a:pt x="3590" y="17622"/>
                        </a:lnTo>
                        <a:lnTo>
                          <a:pt x="2051" y="15944"/>
                        </a:lnTo>
                        <a:lnTo>
                          <a:pt x="641" y="14126"/>
                        </a:lnTo>
                        <a:lnTo>
                          <a:pt x="0" y="10909"/>
                        </a:lnTo>
                        <a:lnTo>
                          <a:pt x="0" y="8811"/>
                        </a:lnTo>
                        <a:lnTo>
                          <a:pt x="0" y="6294"/>
                        </a:lnTo>
                        <a:lnTo>
                          <a:pt x="2051" y="3916"/>
                        </a:lnTo>
                        <a:lnTo>
                          <a:pt x="2949" y="2517"/>
                        </a:lnTo>
                        <a:lnTo>
                          <a:pt x="6282" y="699"/>
                        </a:lnTo>
                        <a:lnTo>
                          <a:pt x="10128" y="0"/>
                        </a:lnTo>
                        <a:lnTo>
                          <a:pt x="13718" y="699"/>
                        </a:lnTo>
                        <a:lnTo>
                          <a:pt x="16667" y="2517"/>
                        </a:lnTo>
                        <a:lnTo>
                          <a:pt x="18205" y="4615"/>
                        </a:lnTo>
                        <a:lnTo>
                          <a:pt x="19615" y="7832"/>
                        </a:lnTo>
                        <a:lnTo>
                          <a:pt x="19872" y="9930"/>
                        </a:lnTo>
                        <a:close/>
                      </a:path>
                    </a:pathLst>
                  </a:custGeom>
                  <a:grp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fr-FR"/>
                  </a:p>
                </p:txBody>
              </p:sp>
            </p:grpSp>
            <p:grpSp>
              <p:nvGrpSpPr>
                <p:cNvPr id="261" name="Group 260">
                  <a:extLst>
                    <a:ext uri="{FF2B5EF4-FFF2-40B4-BE49-F238E27FC236}">
                      <a16:creationId xmlns:a16="http://schemas.microsoft.com/office/drawing/2014/main" id="{454CC28A-6DAF-48B7-94F6-20371FCDC751}"/>
                    </a:ext>
                  </a:extLst>
                </p:cNvPr>
                <p:cNvGrpSpPr>
                  <a:grpSpLocks/>
                </p:cNvGrpSpPr>
                <p:nvPr/>
              </p:nvGrpSpPr>
              <p:grpSpPr bwMode="auto">
                <a:xfrm rot="2452067" flipH="1" flipV="1">
                  <a:off x="1760040" y="1642649"/>
                  <a:ext cx="167772" cy="417726"/>
                  <a:chOff x="1760040" y="1642649"/>
                  <a:chExt cx="20000" cy="20000"/>
                </a:xfrm>
                <a:solidFill>
                  <a:schemeClr val="accent2">
                    <a:lumMod val="75000"/>
                  </a:schemeClr>
                </a:solidFill>
              </p:grpSpPr>
              <p:sp>
                <p:nvSpPr>
                  <p:cNvPr id="270" name="Freeform 36">
                    <a:extLst>
                      <a:ext uri="{FF2B5EF4-FFF2-40B4-BE49-F238E27FC236}">
                        <a16:creationId xmlns:a16="http://schemas.microsoft.com/office/drawing/2014/main" id="{BE9255EE-5A17-4933-B46E-2AFDC63ED40B}"/>
                      </a:ext>
                    </a:extLst>
                  </p:cNvPr>
                  <p:cNvSpPr>
                    <a:spLocks/>
                  </p:cNvSpPr>
                  <p:nvPr/>
                </p:nvSpPr>
                <p:spPr bwMode="auto">
                  <a:xfrm>
                    <a:off x="1760325" y="1642649"/>
                    <a:ext cx="19715" cy="20000"/>
                  </a:xfrm>
                  <a:custGeom>
                    <a:avLst/>
                    <a:gdLst>
                      <a:gd name="T0" fmla="*/ 15333 w 20000"/>
                      <a:gd name="T1" fmla="*/ 3594 h 20000"/>
                      <a:gd name="T2" fmla="*/ 11514 w 20000"/>
                      <a:gd name="T3" fmla="*/ 2673 h 20000"/>
                      <a:gd name="T4" fmla="*/ 6456 w 20000"/>
                      <a:gd name="T5" fmla="*/ 5945 h 20000"/>
                      <a:gd name="T6" fmla="*/ 6456 w 20000"/>
                      <a:gd name="T7" fmla="*/ 13779 h 20000"/>
                      <a:gd name="T8" fmla="*/ 11514 w 20000"/>
                      <a:gd name="T9" fmla="*/ 17143 h 20000"/>
                      <a:gd name="T10" fmla="*/ 15064 w 20000"/>
                      <a:gd name="T11" fmla="*/ 16590 h 20000"/>
                      <a:gd name="T12" fmla="*/ 18562 w 20000"/>
                      <a:gd name="T13" fmla="*/ 18664 h 20000"/>
                      <a:gd name="T14" fmla="*/ 9846 w 20000"/>
                      <a:gd name="T15" fmla="*/ 19954 h 20000"/>
                      <a:gd name="T16" fmla="*/ 1776 w 20000"/>
                      <a:gd name="T17" fmla="*/ 16359 h 20000"/>
                      <a:gd name="T18" fmla="*/ 0 w 20000"/>
                      <a:gd name="T19" fmla="*/ 12120 h 20000"/>
                      <a:gd name="T20" fmla="*/ 0 w 20000"/>
                      <a:gd name="T21" fmla="*/ 5392 h 20000"/>
                      <a:gd name="T22" fmla="*/ 1937 w 20000"/>
                      <a:gd name="T23" fmla="*/ 1843 h 20000"/>
                      <a:gd name="T24" fmla="*/ 11514 w 20000"/>
                      <a:gd name="T25" fmla="*/ 0 h 20000"/>
                      <a:gd name="T26" fmla="*/ 18562 w 20000"/>
                      <a:gd name="T27" fmla="*/ 1982 h 20000"/>
                      <a:gd name="T28" fmla="*/ 15333 w 20000"/>
                      <a:gd name="T29" fmla="*/ 3594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000" h="20000">
                        <a:moveTo>
                          <a:pt x="16474" y="3594"/>
                        </a:moveTo>
                        <a:lnTo>
                          <a:pt x="12370" y="2673"/>
                        </a:lnTo>
                        <a:lnTo>
                          <a:pt x="6936" y="5945"/>
                        </a:lnTo>
                        <a:lnTo>
                          <a:pt x="6936" y="13779"/>
                        </a:lnTo>
                        <a:lnTo>
                          <a:pt x="12370" y="17143"/>
                        </a:lnTo>
                        <a:lnTo>
                          <a:pt x="16185" y="16590"/>
                        </a:lnTo>
                        <a:lnTo>
                          <a:pt x="19942" y="18664"/>
                        </a:lnTo>
                        <a:lnTo>
                          <a:pt x="10578" y="19954"/>
                        </a:lnTo>
                        <a:lnTo>
                          <a:pt x="1908" y="16359"/>
                        </a:lnTo>
                        <a:lnTo>
                          <a:pt x="0" y="12120"/>
                        </a:lnTo>
                        <a:lnTo>
                          <a:pt x="0" y="5392"/>
                        </a:lnTo>
                        <a:lnTo>
                          <a:pt x="2081" y="1843"/>
                        </a:lnTo>
                        <a:lnTo>
                          <a:pt x="12370" y="0"/>
                        </a:lnTo>
                        <a:lnTo>
                          <a:pt x="19942" y="1982"/>
                        </a:lnTo>
                        <a:lnTo>
                          <a:pt x="16474" y="3594"/>
                        </a:lnTo>
                        <a:close/>
                      </a:path>
                    </a:pathLst>
                  </a:custGeom>
                  <a:grp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fr-FR"/>
                  </a:p>
                </p:txBody>
              </p:sp>
              <p:sp>
                <p:nvSpPr>
                  <p:cNvPr id="271" name="Freeform 37">
                    <a:extLst>
                      <a:ext uri="{FF2B5EF4-FFF2-40B4-BE49-F238E27FC236}">
                        <a16:creationId xmlns:a16="http://schemas.microsoft.com/office/drawing/2014/main" id="{8B03CEE9-4FE4-407B-8330-A68081FDE817}"/>
                      </a:ext>
                    </a:extLst>
                  </p:cNvPr>
                  <p:cNvSpPr>
                    <a:spLocks/>
                  </p:cNvSpPr>
                  <p:nvPr/>
                </p:nvSpPr>
                <p:spPr bwMode="auto">
                  <a:xfrm>
                    <a:off x="1760040" y="1648962"/>
                    <a:ext cx="8889" cy="6590"/>
                  </a:xfrm>
                  <a:custGeom>
                    <a:avLst/>
                    <a:gdLst>
                      <a:gd name="T0" fmla="*/ 344 w 20000"/>
                      <a:gd name="T1" fmla="*/ 39 h 20000"/>
                      <a:gd name="T2" fmla="*/ 340 w 20000"/>
                      <a:gd name="T3" fmla="*/ 47 h 20000"/>
                      <a:gd name="T4" fmla="*/ 316 w 20000"/>
                      <a:gd name="T5" fmla="*/ 59 h 20000"/>
                      <a:gd name="T6" fmla="*/ 289 w 20000"/>
                      <a:gd name="T7" fmla="*/ 67 h 20000"/>
                      <a:gd name="T8" fmla="*/ 260 w 20000"/>
                      <a:gd name="T9" fmla="*/ 72 h 20000"/>
                      <a:gd name="T10" fmla="*/ 238 w 20000"/>
                      <a:gd name="T11" fmla="*/ 74 h 20000"/>
                      <a:gd name="T12" fmla="*/ 176 w 20000"/>
                      <a:gd name="T13" fmla="*/ 77 h 20000"/>
                      <a:gd name="T14" fmla="*/ 109 w 20000"/>
                      <a:gd name="T15" fmla="*/ 74 h 20000"/>
                      <a:gd name="T16" fmla="*/ 62 w 20000"/>
                      <a:gd name="T17" fmla="*/ 69 h 20000"/>
                      <a:gd name="T18" fmla="*/ 36 w 20000"/>
                      <a:gd name="T19" fmla="*/ 62 h 20000"/>
                      <a:gd name="T20" fmla="*/ 11 w 20000"/>
                      <a:gd name="T21" fmla="*/ 55 h 20000"/>
                      <a:gd name="T22" fmla="*/ 0 w 20000"/>
                      <a:gd name="T23" fmla="*/ 43 h 20000"/>
                      <a:gd name="T24" fmla="*/ 0 w 20000"/>
                      <a:gd name="T25" fmla="*/ 34 h 20000"/>
                      <a:gd name="T26" fmla="*/ 0 w 20000"/>
                      <a:gd name="T27" fmla="*/ 24 h 20000"/>
                      <a:gd name="T28" fmla="*/ 36 w 20000"/>
                      <a:gd name="T29" fmla="*/ 15 h 20000"/>
                      <a:gd name="T30" fmla="*/ 51 w 20000"/>
                      <a:gd name="T31" fmla="*/ 10 h 20000"/>
                      <a:gd name="T32" fmla="*/ 109 w 20000"/>
                      <a:gd name="T33" fmla="*/ 3 h 20000"/>
                      <a:gd name="T34" fmla="*/ 176 w 20000"/>
                      <a:gd name="T35" fmla="*/ 0 h 20000"/>
                      <a:gd name="T36" fmla="*/ 238 w 20000"/>
                      <a:gd name="T37" fmla="*/ 3 h 20000"/>
                      <a:gd name="T38" fmla="*/ 289 w 20000"/>
                      <a:gd name="T39" fmla="*/ 10 h 20000"/>
                      <a:gd name="T40" fmla="*/ 316 w 20000"/>
                      <a:gd name="T41" fmla="*/ 18 h 20000"/>
                      <a:gd name="T42" fmla="*/ 340 w 20000"/>
                      <a:gd name="T43" fmla="*/ 30 h 20000"/>
                      <a:gd name="T44" fmla="*/ 344 w 20000"/>
                      <a:gd name="T45" fmla="*/ 39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19872" y="9930"/>
                        </a:moveTo>
                        <a:lnTo>
                          <a:pt x="19615" y="12028"/>
                        </a:lnTo>
                        <a:lnTo>
                          <a:pt x="18205" y="15245"/>
                        </a:lnTo>
                        <a:lnTo>
                          <a:pt x="16667" y="17343"/>
                        </a:lnTo>
                        <a:lnTo>
                          <a:pt x="15000" y="18462"/>
                        </a:lnTo>
                        <a:lnTo>
                          <a:pt x="13718" y="19161"/>
                        </a:lnTo>
                        <a:lnTo>
                          <a:pt x="10128" y="19860"/>
                        </a:lnTo>
                        <a:lnTo>
                          <a:pt x="6282" y="19161"/>
                        </a:lnTo>
                        <a:lnTo>
                          <a:pt x="3590" y="17622"/>
                        </a:lnTo>
                        <a:lnTo>
                          <a:pt x="2051" y="15944"/>
                        </a:lnTo>
                        <a:lnTo>
                          <a:pt x="641" y="14126"/>
                        </a:lnTo>
                        <a:lnTo>
                          <a:pt x="0" y="10909"/>
                        </a:lnTo>
                        <a:lnTo>
                          <a:pt x="0" y="8811"/>
                        </a:lnTo>
                        <a:lnTo>
                          <a:pt x="0" y="6294"/>
                        </a:lnTo>
                        <a:lnTo>
                          <a:pt x="2051" y="3916"/>
                        </a:lnTo>
                        <a:lnTo>
                          <a:pt x="2949" y="2517"/>
                        </a:lnTo>
                        <a:lnTo>
                          <a:pt x="6282" y="699"/>
                        </a:lnTo>
                        <a:lnTo>
                          <a:pt x="10128" y="0"/>
                        </a:lnTo>
                        <a:lnTo>
                          <a:pt x="13718" y="699"/>
                        </a:lnTo>
                        <a:lnTo>
                          <a:pt x="16667" y="2517"/>
                        </a:lnTo>
                        <a:lnTo>
                          <a:pt x="18205" y="4615"/>
                        </a:lnTo>
                        <a:lnTo>
                          <a:pt x="19615" y="7832"/>
                        </a:lnTo>
                        <a:lnTo>
                          <a:pt x="19872" y="9930"/>
                        </a:lnTo>
                        <a:close/>
                      </a:path>
                    </a:pathLst>
                  </a:custGeom>
                  <a:grp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fr-FR"/>
                  </a:p>
                </p:txBody>
              </p:sp>
            </p:grpSp>
            <p:grpSp>
              <p:nvGrpSpPr>
                <p:cNvPr id="262" name="Group 261">
                  <a:extLst>
                    <a:ext uri="{FF2B5EF4-FFF2-40B4-BE49-F238E27FC236}">
                      <a16:creationId xmlns:a16="http://schemas.microsoft.com/office/drawing/2014/main" id="{DFFC28D3-A765-466A-8FDE-E78549814519}"/>
                    </a:ext>
                  </a:extLst>
                </p:cNvPr>
                <p:cNvGrpSpPr>
                  <a:grpSpLocks/>
                </p:cNvGrpSpPr>
                <p:nvPr/>
              </p:nvGrpSpPr>
              <p:grpSpPr bwMode="auto">
                <a:xfrm rot="2891457">
                  <a:off x="1870368" y="512249"/>
                  <a:ext cx="348106" cy="201326"/>
                  <a:chOff x="1870306" y="512179"/>
                  <a:chExt cx="20000" cy="20000"/>
                </a:xfrm>
                <a:solidFill>
                  <a:schemeClr val="accent2">
                    <a:lumMod val="75000"/>
                  </a:schemeClr>
                </a:solidFill>
              </p:grpSpPr>
              <p:sp>
                <p:nvSpPr>
                  <p:cNvPr id="268" name="Freeform 36">
                    <a:extLst>
                      <a:ext uri="{FF2B5EF4-FFF2-40B4-BE49-F238E27FC236}">
                        <a16:creationId xmlns:a16="http://schemas.microsoft.com/office/drawing/2014/main" id="{414037DC-133C-4FEB-B0E6-3A41F9C6F3D4}"/>
                      </a:ext>
                    </a:extLst>
                  </p:cNvPr>
                  <p:cNvSpPr>
                    <a:spLocks/>
                  </p:cNvSpPr>
                  <p:nvPr/>
                </p:nvSpPr>
                <p:spPr bwMode="auto">
                  <a:xfrm>
                    <a:off x="1870591" y="512179"/>
                    <a:ext cx="19715" cy="20000"/>
                  </a:xfrm>
                  <a:custGeom>
                    <a:avLst/>
                    <a:gdLst>
                      <a:gd name="T0" fmla="*/ 15333 w 20000"/>
                      <a:gd name="T1" fmla="*/ 3594 h 20000"/>
                      <a:gd name="T2" fmla="*/ 11514 w 20000"/>
                      <a:gd name="T3" fmla="*/ 2673 h 20000"/>
                      <a:gd name="T4" fmla="*/ 6456 w 20000"/>
                      <a:gd name="T5" fmla="*/ 5945 h 20000"/>
                      <a:gd name="T6" fmla="*/ 6456 w 20000"/>
                      <a:gd name="T7" fmla="*/ 13779 h 20000"/>
                      <a:gd name="T8" fmla="*/ 11514 w 20000"/>
                      <a:gd name="T9" fmla="*/ 17143 h 20000"/>
                      <a:gd name="T10" fmla="*/ 15064 w 20000"/>
                      <a:gd name="T11" fmla="*/ 16590 h 20000"/>
                      <a:gd name="T12" fmla="*/ 18562 w 20000"/>
                      <a:gd name="T13" fmla="*/ 18664 h 20000"/>
                      <a:gd name="T14" fmla="*/ 9846 w 20000"/>
                      <a:gd name="T15" fmla="*/ 19954 h 20000"/>
                      <a:gd name="T16" fmla="*/ 1776 w 20000"/>
                      <a:gd name="T17" fmla="*/ 16359 h 20000"/>
                      <a:gd name="T18" fmla="*/ 0 w 20000"/>
                      <a:gd name="T19" fmla="*/ 12120 h 20000"/>
                      <a:gd name="T20" fmla="*/ 0 w 20000"/>
                      <a:gd name="T21" fmla="*/ 5392 h 20000"/>
                      <a:gd name="T22" fmla="*/ 1937 w 20000"/>
                      <a:gd name="T23" fmla="*/ 1843 h 20000"/>
                      <a:gd name="T24" fmla="*/ 11514 w 20000"/>
                      <a:gd name="T25" fmla="*/ 0 h 20000"/>
                      <a:gd name="T26" fmla="*/ 18562 w 20000"/>
                      <a:gd name="T27" fmla="*/ 1982 h 20000"/>
                      <a:gd name="T28" fmla="*/ 15333 w 20000"/>
                      <a:gd name="T29" fmla="*/ 3594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000" h="20000">
                        <a:moveTo>
                          <a:pt x="16474" y="3594"/>
                        </a:moveTo>
                        <a:lnTo>
                          <a:pt x="12370" y="2673"/>
                        </a:lnTo>
                        <a:lnTo>
                          <a:pt x="6936" y="5945"/>
                        </a:lnTo>
                        <a:lnTo>
                          <a:pt x="6936" y="13779"/>
                        </a:lnTo>
                        <a:lnTo>
                          <a:pt x="12370" y="17143"/>
                        </a:lnTo>
                        <a:lnTo>
                          <a:pt x="16185" y="16590"/>
                        </a:lnTo>
                        <a:lnTo>
                          <a:pt x="19942" y="18664"/>
                        </a:lnTo>
                        <a:lnTo>
                          <a:pt x="10578" y="19954"/>
                        </a:lnTo>
                        <a:lnTo>
                          <a:pt x="1908" y="16359"/>
                        </a:lnTo>
                        <a:lnTo>
                          <a:pt x="0" y="12120"/>
                        </a:lnTo>
                        <a:lnTo>
                          <a:pt x="0" y="5392"/>
                        </a:lnTo>
                        <a:lnTo>
                          <a:pt x="2081" y="1843"/>
                        </a:lnTo>
                        <a:lnTo>
                          <a:pt x="12370" y="0"/>
                        </a:lnTo>
                        <a:lnTo>
                          <a:pt x="19942" y="1982"/>
                        </a:lnTo>
                        <a:lnTo>
                          <a:pt x="16474" y="3594"/>
                        </a:lnTo>
                        <a:close/>
                      </a:path>
                    </a:pathLst>
                  </a:custGeom>
                  <a:grp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fr-FR"/>
                  </a:p>
                </p:txBody>
              </p:sp>
              <p:sp>
                <p:nvSpPr>
                  <p:cNvPr id="269" name="Freeform 37">
                    <a:extLst>
                      <a:ext uri="{FF2B5EF4-FFF2-40B4-BE49-F238E27FC236}">
                        <a16:creationId xmlns:a16="http://schemas.microsoft.com/office/drawing/2014/main" id="{7F257241-6A61-4932-B48F-209366AD4489}"/>
                      </a:ext>
                    </a:extLst>
                  </p:cNvPr>
                  <p:cNvSpPr>
                    <a:spLocks/>
                  </p:cNvSpPr>
                  <p:nvPr/>
                </p:nvSpPr>
                <p:spPr bwMode="auto">
                  <a:xfrm>
                    <a:off x="1870306" y="518492"/>
                    <a:ext cx="8889" cy="6590"/>
                  </a:xfrm>
                  <a:custGeom>
                    <a:avLst/>
                    <a:gdLst>
                      <a:gd name="T0" fmla="*/ 344 w 20000"/>
                      <a:gd name="T1" fmla="*/ 39 h 20000"/>
                      <a:gd name="T2" fmla="*/ 340 w 20000"/>
                      <a:gd name="T3" fmla="*/ 47 h 20000"/>
                      <a:gd name="T4" fmla="*/ 316 w 20000"/>
                      <a:gd name="T5" fmla="*/ 59 h 20000"/>
                      <a:gd name="T6" fmla="*/ 289 w 20000"/>
                      <a:gd name="T7" fmla="*/ 67 h 20000"/>
                      <a:gd name="T8" fmla="*/ 260 w 20000"/>
                      <a:gd name="T9" fmla="*/ 72 h 20000"/>
                      <a:gd name="T10" fmla="*/ 238 w 20000"/>
                      <a:gd name="T11" fmla="*/ 74 h 20000"/>
                      <a:gd name="T12" fmla="*/ 176 w 20000"/>
                      <a:gd name="T13" fmla="*/ 77 h 20000"/>
                      <a:gd name="T14" fmla="*/ 109 w 20000"/>
                      <a:gd name="T15" fmla="*/ 74 h 20000"/>
                      <a:gd name="T16" fmla="*/ 62 w 20000"/>
                      <a:gd name="T17" fmla="*/ 69 h 20000"/>
                      <a:gd name="T18" fmla="*/ 36 w 20000"/>
                      <a:gd name="T19" fmla="*/ 62 h 20000"/>
                      <a:gd name="T20" fmla="*/ 11 w 20000"/>
                      <a:gd name="T21" fmla="*/ 55 h 20000"/>
                      <a:gd name="T22" fmla="*/ 0 w 20000"/>
                      <a:gd name="T23" fmla="*/ 43 h 20000"/>
                      <a:gd name="T24" fmla="*/ 0 w 20000"/>
                      <a:gd name="T25" fmla="*/ 34 h 20000"/>
                      <a:gd name="T26" fmla="*/ 0 w 20000"/>
                      <a:gd name="T27" fmla="*/ 24 h 20000"/>
                      <a:gd name="T28" fmla="*/ 36 w 20000"/>
                      <a:gd name="T29" fmla="*/ 15 h 20000"/>
                      <a:gd name="T30" fmla="*/ 51 w 20000"/>
                      <a:gd name="T31" fmla="*/ 10 h 20000"/>
                      <a:gd name="T32" fmla="*/ 109 w 20000"/>
                      <a:gd name="T33" fmla="*/ 3 h 20000"/>
                      <a:gd name="T34" fmla="*/ 176 w 20000"/>
                      <a:gd name="T35" fmla="*/ 0 h 20000"/>
                      <a:gd name="T36" fmla="*/ 238 w 20000"/>
                      <a:gd name="T37" fmla="*/ 3 h 20000"/>
                      <a:gd name="T38" fmla="*/ 289 w 20000"/>
                      <a:gd name="T39" fmla="*/ 10 h 20000"/>
                      <a:gd name="T40" fmla="*/ 316 w 20000"/>
                      <a:gd name="T41" fmla="*/ 18 h 20000"/>
                      <a:gd name="T42" fmla="*/ 340 w 20000"/>
                      <a:gd name="T43" fmla="*/ 30 h 20000"/>
                      <a:gd name="T44" fmla="*/ 344 w 20000"/>
                      <a:gd name="T45" fmla="*/ 39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19872" y="9930"/>
                        </a:moveTo>
                        <a:lnTo>
                          <a:pt x="19615" y="12028"/>
                        </a:lnTo>
                        <a:lnTo>
                          <a:pt x="18205" y="15245"/>
                        </a:lnTo>
                        <a:lnTo>
                          <a:pt x="16667" y="17343"/>
                        </a:lnTo>
                        <a:lnTo>
                          <a:pt x="15000" y="18462"/>
                        </a:lnTo>
                        <a:lnTo>
                          <a:pt x="13718" y="19161"/>
                        </a:lnTo>
                        <a:lnTo>
                          <a:pt x="10128" y="19860"/>
                        </a:lnTo>
                        <a:lnTo>
                          <a:pt x="6282" y="19161"/>
                        </a:lnTo>
                        <a:lnTo>
                          <a:pt x="3590" y="17622"/>
                        </a:lnTo>
                        <a:lnTo>
                          <a:pt x="2051" y="15944"/>
                        </a:lnTo>
                        <a:lnTo>
                          <a:pt x="641" y="14126"/>
                        </a:lnTo>
                        <a:lnTo>
                          <a:pt x="0" y="10909"/>
                        </a:lnTo>
                        <a:lnTo>
                          <a:pt x="0" y="8811"/>
                        </a:lnTo>
                        <a:lnTo>
                          <a:pt x="0" y="6294"/>
                        </a:lnTo>
                        <a:lnTo>
                          <a:pt x="2051" y="3916"/>
                        </a:lnTo>
                        <a:lnTo>
                          <a:pt x="2949" y="2517"/>
                        </a:lnTo>
                        <a:lnTo>
                          <a:pt x="6282" y="699"/>
                        </a:lnTo>
                        <a:lnTo>
                          <a:pt x="10128" y="0"/>
                        </a:lnTo>
                        <a:lnTo>
                          <a:pt x="13718" y="699"/>
                        </a:lnTo>
                        <a:lnTo>
                          <a:pt x="16667" y="2517"/>
                        </a:lnTo>
                        <a:lnTo>
                          <a:pt x="18205" y="4615"/>
                        </a:lnTo>
                        <a:lnTo>
                          <a:pt x="19615" y="7832"/>
                        </a:lnTo>
                        <a:lnTo>
                          <a:pt x="19872" y="9930"/>
                        </a:lnTo>
                        <a:close/>
                      </a:path>
                    </a:pathLst>
                  </a:custGeom>
                  <a:grp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fr-FR"/>
                  </a:p>
                </p:txBody>
              </p:sp>
            </p:grpSp>
            <p:grpSp>
              <p:nvGrpSpPr>
                <p:cNvPr id="263" name="Group 262">
                  <a:extLst>
                    <a:ext uri="{FF2B5EF4-FFF2-40B4-BE49-F238E27FC236}">
                      <a16:creationId xmlns:a16="http://schemas.microsoft.com/office/drawing/2014/main" id="{911267AB-53F9-4B34-9FDE-CD07723F9233}"/>
                    </a:ext>
                  </a:extLst>
                </p:cNvPr>
                <p:cNvGrpSpPr>
                  <a:grpSpLocks/>
                </p:cNvGrpSpPr>
                <p:nvPr/>
              </p:nvGrpSpPr>
              <p:grpSpPr bwMode="auto">
                <a:xfrm rot="2452067" flipH="1" flipV="1">
                  <a:off x="2075038" y="1665845"/>
                  <a:ext cx="167772" cy="417726"/>
                  <a:chOff x="2075038" y="1665845"/>
                  <a:chExt cx="20000" cy="20000"/>
                </a:xfrm>
                <a:solidFill>
                  <a:schemeClr val="accent2">
                    <a:lumMod val="75000"/>
                  </a:schemeClr>
                </a:solidFill>
              </p:grpSpPr>
              <p:sp>
                <p:nvSpPr>
                  <p:cNvPr id="266" name="Freeform 36">
                    <a:extLst>
                      <a:ext uri="{FF2B5EF4-FFF2-40B4-BE49-F238E27FC236}">
                        <a16:creationId xmlns:a16="http://schemas.microsoft.com/office/drawing/2014/main" id="{DEAD6B92-57BD-4536-9F8C-C5C612C54186}"/>
                      </a:ext>
                    </a:extLst>
                  </p:cNvPr>
                  <p:cNvSpPr>
                    <a:spLocks/>
                  </p:cNvSpPr>
                  <p:nvPr/>
                </p:nvSpPr>
                <p:spPr bwMode="auto">
                  <a:xfrm>
                    <a:off x="2075323" y="1665845"/>
                    <a:ext cx="19715" cy="20000"/>
                  </a:xfrm>
                  <a:custGeom>
                    <a:avLst/>
                    <a:gdLst>
                      <a:gd name="T0" fmla="*/ 15333 w 20000"/>
                      <a:gd name="T1" fmla="*/ 3594 h 20000"/>
                      <a:gd name="T2" fmla="*/ 11514 w 20000"/>
                      <a:gd name="T3" fmla="*/ 2673 h 20000"/>
                      <a:gd name="T4" fmla="*/ 6456 w 20000"/>
                      <a:gd name="T5" fmla="*/ 5945 h 20000"/>
                      <a:gd name="T6" fmla="*/ 6456 w 20000"/>
                      <a:gd name="T7" fmla="*/ 13779 h 20000"/>
                      <a:gd name="T8" fmla="*/ 11514 w 20000"/>
                      <a:gd name="T9" fmla="*/ 17143 h 20000"/>
                      <a:gd name="T10" fmla="*/ 15064 w 20000"/>
                      <a:gd name="T11" fmla="*/ 16590 h 20000"/>
                      <a:gd name="T12" fmla="*/ 18562 w 20000"/>
                      <a:gd name="T13" fmla="*/ 18664 h 20000"/>
                      <a:gd name="T14" fmla="*/ 9846 w 20000"/>
                      <a:gd name="T15" fmla="*/ 19954 h 20000"/>
                      <a:gd name="T16" fmla="*/ 1776 w 20000"/>
                      <a:gd name="T17" fmla="*/ 16359 h 20000"/>
                      <a:gd name="T18" fmla="*/ 0 w 20000"/>
                      <a:gd name="T19" fmla="*/ 12120 h 20000"/>
                      <a:gd name="T20" fmla="*/ 0 w 20000"/>
                      <a:gd name="T21" fmla="*/ 5392 h 20000"/>
                      <a:gd name="T22" fmla="*/ 1937 w 20000"/>
                      <a:gd name="T23" fmla="*/ 1843 h 20000"/>
                      <a:gd name="T24" fmla="*/ 11514 w 20000"/>
                      <a:gd name="T25" fmla="*/ 0 h 20000"/>
                      <a:gd name="T26" fmla="*/ 18562 w 20000"/>
                      <a:gd name="T27" fmla="*/ 1982 h 20000"/>
                      <a:gd name="T28" fmla="*/ 15333 w 20000"/>
                      <a:gd name="T29" fmla="*/ 3594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000" h="20000">
                        <a:moveTo>
                          <a:pt x="16474" y="3594"/>
                        </a:moveTo>
                        <a:lnTo>
                          <a:pt x="12370" y="2673"/>
                        </a:lnTo>
                        <a:lnTo>
                          <a:pt x="6936" y="5945"/>
                        </a:lnTo>
                        <a:lnTo>
                          <a:pt x="6936" y="13779"/>
                        </a:lnTo>
                        <a:lnTo>
                          <a:pt x="12370" y="17143"/>
                        </a:lnTo>
                        <a:lnTo>
                          <a:pt x="16185" y="16590"/>
                        </a:lnTo>
                        <a:lnTo>
                          <a:pt x="19942" y="18664"/>
                        </a:lnTo>
                        <a:lnTo>
                          <a:pt x="10578" y="19954"/>
                        </a:lnTo>
                        <a:lnTo>
                          <a:pt x="1908" y="16359"/>
                        </a:lnTo>
                        <a:lnTo>
                          <a:pt x="0" y="12120"/>
                        </a:lnTo>
                        <a:lnTo>
                          <a:pt x="0" y="5392"/>
                        </a:lnTo>
                        <a:lnTo>
                          <a:pt x="2081" y="1843"/>
                        </a:lnTo>
                        <a:lnTo>
                          <a:pt x="12370" y="0"/>
                        </a:lnTo>
                        <a:lnTo>
                          <a:pt x="19942" y="1982"/>
                        </a:lnTo>
                        <a:lnTo>
                          <a:pt x="16474" y="3594"/>
                        </a:lnTo>
                        <a:close/>
                      </a:path>
                    </a:pathLst>
                  </a:custGeom>
                  <a:grp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fr-FR"/>
                  </a:p>
                </p:txBody>
              </p:sp>
              <p:sp>
                <p:nvSpPr>
                  <p:cNvPr id="267" name="Freeform 37">
                    <a:extLst>
                      <a:ext uri="{FF2B5EF4-FFF2-40B4-BE49-F238E27FC236}">
                        <a16:creationId xmlns:a16="http://schemas.microsoft.com/office/drawing/2014/main" id="{298B33A6-83E1-4383-80E6-8FBBE560A171}"/>
                      </a:ext>
                    </a:extLst>
                  </p:cNvPr>
                  <p:cNvSpPr>
                    <a:spLocks/>
                  </p:cNvSpPr>
                  <p:nvPr/>
                </p:nvSpPr>
                <p:spPr bwMode="auto">
                  <a:xfrm>
                    <a:off x="2075038" y="1672158"/>
                    <a:ext cx="8889" cy="6590"/>
                  </a:xfrm>
                  <a:custGeom>
                    <a:avLst/>
                    <a:gdLst>
                      <a:gd name="T0" fmla="*/ 344 w 20000"/>
                      <a:gd name="T1" fmla="*/ 39 h 20000"/>
                      <a:gd name="T2" fmla="*/ 340 w 20000"/>
                      <a:gd name="T3" fmla="*/ 47 h 20000"/>
                      <a:gd name="T4" fmla="*/ 316 w 20000"/>
                      <a:gd name="T5" fmla="*/ 59 h 20000"/>
                      <a:gd name="T6" fmla="*/ 289 w 20000"/>
                      <a:gd name="T7" fmla="*/ 67 h 20000"/>
                      <a:gd name="T8" fmla="*/ 260 w 20000"/>
                      <a:gd name="T9" fmla="*/ 72 h 20000"/>
                      <a:gd name="T10" fmla="*/ 238 w 20000"/>
                      <a:gd name="T11" fmla="*/ 74 h 20000"/>
                      <a:gd name="T12" fmla="*/ 176 w 20000"/>
                      <a:gd name="T13" fmla="*/ 77 h 20000"/>
                      <a:gd name="T14" fmla="*/ 109 w 20000"/>
                      <a:gd name="T15" fmla="*/ 74 h 20000"/>
                      <a:gd name="T16" fmla="*/ 62 w 20000"/>
                      <a:gd name="T17" fmla="*/ 69 h 20000"/>
                      <a:gd name="T18" fmla="*/ 36 w 20000"/>
                      <a:gd name="T19" fmla="*/ 62 h 20000"/>
                      <a:gd name="T20" fmla="*/ 11 w 20000"/>
                      <a:gd name="T21" fmla="*/ 55 h 20000"/>
                      <a:gd name="T22" fmla="*/ 0 w 20000"/>
                      <a:gd name="T23" fmla="*/ 43 h 20000"/>
                      <a:gd name="T24" fmla="*/ 0 w 20000"/>
                      <a:gd name="T25" fmla="*/ 34 h 20000"/>
                      <a:gd name="T26" fmla="*/ 0 w 20000"/>
                      <a:gd name="T27" fmla="*/ 24 h 20000"/>
                      <a:gd name="T28" fmla="*/ 36 w 20000"/>
                      <a:gd name="T29" fmla="*/ 15 h 20000"/>
                      <a:gd name="T30" fmla="*/ 51 w 20000"/>
                      <a:gd name="T31" fmla="*/ 10 h 20000"/>
                      <a:gd name="T32" fmla="*/ 109 w 20000"/>
                      <a:gd name="T33" fmla="*/ 3 h 20000"/>
                      <a:gd name="T34" fmla="*/ 176 w 20000"/>
                      <a:gd name="T35" fmla="*/ 0 h 20000"/>
                      <a:gd name="T36" fmla="*/ 238 w 20000"/>
                      <a:gd name="T37" fmla="*/ 3 h 20000"/>
                      <a:gd name="T38" fmla="*/ 289 w 20000"/>
                      <a:gd name="T39" fmla="*/ 10 h 20000"/>
                      <a:gd name="T40" fmla="*/ 316 w 20000"/>
                      <a:gd name="T41" fmla="*/ 18 h 20000"/>
                      <a:gd name="T42" fmla="*/ 340 w 20000"/>
                      <a:gd name="T43" fmla="*/ 30 h 20000"/>
                      <a:gd name="T44" fmla="*/ 344 w 20000"/>
                      <a:gd name="T45" fmla="*/ 39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19872" y="9930"/>
                        </a:moveTo>
                        <a:lnTo>
                          <a:pt x="19615" y="12028"/>
                        </a:lnTo>
                        <a:lnTo>
                          <a:pt x="18205" y="15245"/>
                        </a:lnTo>
                        <a:lnTo>
                          <a:pt x="16667" y="17343"/>
                        </a:lnTo>
                        <a:lnTo>
                          <a:pt x="15000" y="18462"/>
                        </a:lnTo>
                        <a:lnTo>
                          <a:pt x="13718" y="19161"/>
                        </a:lnTo>
                        <a:lnTo>
                          <a:pt x="10128" y="19860"/>
                        </a:lnTo>
                        <a:lnTo>
                          <a:pt x="6282" y="19161"/>
                        </a:lnTo>
                        <a:lnTo>
                          <a:pt x="3590" y="17622"/>
                        </a:lnTo>
                        <a:lnTo>
                          <a:pt x="2051" y="15944"/>
                        </a:lnTo>
                        <a:lnTo>
                          <a:pt x="641" y="14126"/>
                        </a:lnTo>
                        <a:lnTo>
                          <a:pt x="0" y="10909"/>
                        </a:lnTo>
                        <a:lnTo>
                          <a:pt x="0" y="8811"/>
                        </a:lnTo>
                        <a:lnTo>
                          <a:pt x="0" y="6294"/>
                        </a:lnTo>
                        <a:lnTo>
                          <a:pt x="2051" y="3916"/>
                        </a:lnTo>
                        <a:lnTo>
                          <a:pt x="2949" y="2517"/>
                        </a:lnTo>
                        <a:lnTo>
                          <a:pt x="6282" y="699"/>
                        </a:lnTo>
                        <a:lnTo>
                          <a:pt x="10128" y="0"/>
                        </a:lnTo>
                        <a:lnTo>
                          <a:pt x="13718" y="699"/>
                        </a:lnTo>
                        <a:lnTo>
                          <a:pt x="16667" y="2517"/>
                        </a:lnTo>
                        <a:lnTo>
                          <a:pt x="18205" y="4615"/>
                        </a:lnTo>
                        <a:lnTo>
                          <a:pt x="19615" y="7832"/>
                        </a:lnTo>
                        <a:lnTo>
                          <a:pt x="19872" y="9930"/>
                        </a:lnTo>
                        <a:close/>
                      </a:path>
                    </a:pathLst>
                  </a:custGeom>
                  <a:grpFill/>
                  <a:ln w="0" cap="flat">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fr-FR"/>
                  </a:p>
                </p:txBody>
              </p:sp>
            </p:grpSp>
            <p:cxnSp>
              <p:nvCxnSpPr>
                <p:cNvPr id="264" name="Connecteur droit 847">
                  <a:extLst>
                    <a:ext uri="{FF2B5EF4-FFF2-40B4-BE49-F238E27FC236}">
                      <a16:creationId xmlns:a16="http://schemas.microsoft.com/office/drawing/2014/main" id="{EB10C4B5-F852-4333-902D-39BEA0D31AA1}"/>
                    </a:ext>
                  </a:extLst>
                </p:cNvPr>
                <p:cNvCxnSpPr>
                  <a:cxnSpLocks noChangeShapeType="1"/>
                </p:cNvCxnSpPr>
                <p:nvPr/>
              </p:nvCxnSpPr>
              <p:spPr bwMode="auto">
                <a:xfrm>
                  <a:off x="2316984" y="0"/>
                  <a:ext cx="0" cy="1970430"/>
                </a:xfrm>
                <a:prstGeom prst="line">
                  <a:avLst/>
                </a:prstGeom>
                <a:noFill/>
                <a:ln w="28575" cmpd="dbl" algn="ctr">
                  <a:solidFill>
                    <a:schemeClr val="bg1"/>
                  </a:solidFill>
                  <a:prstDash val="sys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5" name="ZoneTexte 4">
                  <a:extLst>
                    <a:ext uri="{FF2B5EF4-FFF2-40B4-BE49-F238E27FC236}">
                      <a16:creationId xmlns:a16="http://schemas.microsoft.com/office/drawing/2014/main" id="{4D02759E-52CF-451C-8FD3-A6F0B45BB28B}"/>
                    </a:ext>
                  </a:extLst>
                </p:cNvPr>
                <p:cNvSpPr txBox="1">
                  <a:spLocks noChangeArrowheads="1"/>
                </p:cNvSpPr>
                <p:nvPr/>
              </p:nvSpPr>
              <p:spPr bwMode="auto">
                <a:xfrm>
                  <a:off x="1662309" y="2250927"/>
                  <a:ext cx="634850" cy="84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algn="ctr">
                    <a:lnSpc>
                      <a:spcPct val="107000"/>
                    </a:lnSpc>
                    <a:spcAft>
                      <a:spcPts val="800"/>
                    </a:spcAft>
                  </a:pPr>
                  <a:r>
                    <a:rPr lang="fr-FR" sz="1600" b="1" kern="1200" dirty="0">
                      <a:solidFill>
                        <a:srgbClr val="FF0000"/>
                      </a:solidFill>
                      <a:effectLst/>
                      <a:latin typeface="Times New Roman" panose="02020603050405020304" pitchFamily="18" charset="0"/>
                      <a:ea typeface="Calibri" panose="020F0502020204030204" pitchFamily="34" charset="0"/>
                      <a:cs typeface="Arial" panose="020B0604020202020204" pitchFamily="34" charset="0"/>
                    </a:rPr>
                    <a:t>Poste BM50 Pointage Géométrique du Pavillon </a:t>
                  </a:r>
                  <a:endParaRPr lang="fr-FR" sz="1600" dirty="0">
                    <a:effectLst/>
                    <a:latin typeface="Calibri" panose="020F0502020204030204" pitchFamily="34" charset="0"/>
                    <a:ea typeface="Calibri" panose="020F0502020204030204" pitchFamily="34" charset="0"/>
                    <a:cs typeface="Arial" panose="020B0604020202020204" pitchFamily="34" charset="0"/>
                  </a:endParaRPr>
                </a:p>
                <a:p>
                  <a:pPr algn="ctr">
                    <a:lnSpc>
                      <a:spcPct val="107000"/>
                    </a:lnSpc>
                    <a:spcAft>
                      <a:spcPts val="800"/>
                    </a:spcAft>
                  </a:pPr>
                  <a:r>
                    <a:rPr lang="fr-FR" sz="1200" dirty="0">
                      <a:effectLst/>
                      <a:latin typeface="Times New Roman" panose="02020603050405020304" pitchFamily="18" charset="0"/>
                      <a:ea typeface="Calibri" panose="020F0502020204030204" pitchFamily="34" charset="0"/>
                      <a:cs typeface="Arial" panose="020B0604020202020204" pitchFamily="34" charset="0"/>
                    </a:rPr>
                    <a:t> </a:t>
                  </a:r>
                  <a:endParaRPr lang="fr-FR" sz="1100" dirty="0">
                    <a:effectLst/>
                    <a:latin typeface="Calibri" panose="020F0502020204030204" pitchFamily="34" charset="0"/>
                    <a:ea typeface="Calibri" panose="020F0502020204030204" pitchFamily="34" charset="0"/>
                    <a:cs typeface="Arial" panose="020B0604020202020204" pitchFamily="34" charset="0"/>
                  </a:endParaRPr>
                </a:p>
              </p:txBody>
            </p:sp>
          </p:grpSp>
          <p:pic>
            <p:nvPicPr>
              <p:cNvPr id="254" name="Picture 253">
                <a:extLst>
                  <a:ext uri="{FF2B5EF4-FFF2-40B4-BE49-F238E27FC236}">
                    <a16:creationId xmlns:a16="http://schemas.microsoft.com/office/drawing/2014/main" id="{E45EB8A9-0E51-4C9A-A90E-3FB7941DD1C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18776" y="390100"/>
                <a:ext cx="3755426" cy="2426692"/>
              </a:xfrm>
              <a:prstGeom prst="rect">
                <a:avLst/>
              </a:prstGeom>
            </p:spPr>
          </p:pic>
        </p:grpSp>
        <p:sp>
          <p:nvSpPr>
            <p:cNvPr id="23" name="Arrow: Right 22">
              <a:extLst>
                <a:ext uri="{FF2B5EF4-FFF2-40B4-BE49-F238E27FC236}">
                  <a16:creationId xmlns:a16="http://schemas.microsoft.com/office/drawing/2014/main" id="{1CC9EA6E-6F8D-449C-80E2-0E767C478CE8}"/>
                </a:ext>
              </a:extLst>
            </p:cNvPr>
            <p:cNvSpPr/>
            <p:nvPr/>
          </p:nvSpPr>
          <p:spPr>
            <a:xfrm>
              <a:off x="6995216" y="3483820"/>
              <a:ext cx="875377" cy="512040"/>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2605798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1000"/>
                                        <p:tgtEl>
                                          <p:spTgt spid="64"/>
                                        </p:tgtEl>
                                      </p:cBhvr>
                                    </p:animEffect>
                                    <p:anim calcmode="lin" valueType="num">
                                      <p:cBhvr>
                                        <p:cTn id="8" dur="1000" fill="hold"/>
                                        <p:tgtEl>
                                          <p:spTgt spid="64"/>
                                        </p:tgtEl>
                                        <p:attrNameLst>
                                          <p:attrName>ppt_x</p:attrName>
                                        </p:attrNameLst>
                                      </p:cBhvr>
                                      <p:tavLst>
                                        <p:tav tm="0">
                                          <p:val>
                                            <p:strVal val="#ppt_x"/>
                                          </p:val>
                                        </p:tav>
                                        <p:tav tm="100000">
                                          <p:val>
                                            <p:strVal val="#ppt_x"/>
                                          </p:val>
                                        </p:tav>
                                      </p:tavLst>
                                    </p:anim>
                                    <p:anim calcmode="lin" valueType="num">
                                      <p:cBhvr>
                                        <p:cTn id="9" dur="1000" fill="hold"/>
                                        <p:tgtEl>
                                          <p:spTgt spid="6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fill="hold"/>
                                        <p:tgtEl>
                                          <p:spTgt spid="5"/>
                                        </p:tgtEl>
                                        <p:attrNameLst>
                                          <p:attrName>ppt_x</p:attrName>
                                        </p:attrNameLst>
                                      </p:cBhvr>
                                      <p:tavLst>
                                        <p:tav tm="0">
                                          <p:val>
                                            <p:strVal val="#ppt_x"/>
                                          </p:val>
                                        </p:tav>
                                        <p:tav tm="100000">
                                          <p:val>
                                            <p:strVal val="#ppt_x"/>
                                          </p:val>
                                        </p:tav>
                                      </p:tavLst>
                                    </p:anim>
                                    <p:anim calcmode="lin" valueType="num">
                                      <p:cBhvr additive="base">
                                        <p:cTn id="15"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53" presetClass="exit" presetSubtype="32" fill="hold" nodeType="clickEffect">
                                  <p:stCondLst>
                                    <p:cond delay="0"/>
                                  </p:stCondLst>
                                  <p:childTnLst>
                                    <p:anim calcmode="lin" valueType="num">
                                      <p:cBhvr>
                                        <p:cTn id="19" dur="500"/>
                                        <p:tgtEl>
                                          <p:spTgt spid="5"/>
                                        </p:tgtEl>
                                        <p:attrNameLst>
                                          <p:attrName>ppt_w</p:attrName>
                                        </p:attrNameLst>
                                      </p:cBhvr>
                                      <p:tavLst>
                                        <p:tav tm="0">
                                          <p:val>
                                            <p:strVal val="ppt_w"/>
                                          </p:val>
                                        </p:tav>
                                        <p:tav tm="100000">
                                          <p:val>
                                            <p:fltVal val="0"/>
                                          </p:val>
                                        </p:tav>
                                      </p:tavLst>
                                    </p:anim>
                                    <p:anim calcmode="lin" valueType="num">
                                      <p:cBhvr>
                                        <p:cTn id="20" dur="500"/>
                                        <p:tgtEl>
                                          <p:spTgt spid="5"/>
                                        </p:tgtEl>
                                        <p:attrNameLst>
                                          <p:attrName>ppt_h</p:attrName>
                                        </p:attrNameLst>
                                      </p:cBhvr>
                                      <p:tavLst>
                                        <p:tav tm="0">
                                          <p:val>
                                            <p:strVal val="ppt_h"/>
                                          </p:val>
                                        </p:tav>
                                        <p:tav tm="100000">
                                          <p:val>
                                            <p:fltVal val="0"/>
                                          </p:val>
                                        </p:tav>
                                      </p:tavLst>
                                    </p:anim>
                                    <p:animEffect transition="out" filter="fade">
                                      <p:cBhvr>
                                        <p:cTn id="21" dur="500"/>
                                        <p:tgtEl>
                                          <p:spTgt spid="5"/>
                                        </p:tgtEl>
                                      </p:cBhvr>
                                    </p:animEffect>
                                    <p:set>
                                      <p:cBhvr>
                                        <p:cTn id="22" dur="1" fill="hold">
                                          <p:stCondLst>
                                            <p:cond delay="499"/>
                                          </p:stCondLst>
                                        </p:cTn>
                                        <p:tgtEl>
                                          <p:spTgt spid="5"/>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63" presetClass="path" presetSubtype="0" accel="50000" decel="50000" fill="hold" nodeType="clickEffect">
                                  <p:stCondLst>
                                    <p:cond delay="0"/>
                                  </p:stCondLst>
                                  <p:childTnLst>
                                    <p:animMotion origin="layout" path="M 4.16667E-6 -1.11111E-6 L 0.72812 0.025 " pathEditMode="relative" rAng="0" ptsTypes="AA">
                                      <p:cBhvr>
                                        <p:cTn id="26" dur="500" fill="hold"/>
                                        <p:tgtEl>
                                          <p:spTgt spid="20"/>
                                        </p:tgtEl>
                                        <p:attrNameLst>
                                          <p:attrName>ppt_x</p:attrName>
                                          <p:attrName>ppt_y</p:attrName>
                                        </p:attrNameLst>
                                      </p:cBhvr>
                                      <p:rCtr x="36406" y="1250"/>
                                    </p:animMotion>
                                  </p:childTnLst>
                                </p:cTn>
                              </p:par>
                            </p:childTnLst>
                          </p:cTn>
                        </p:par>
                      </p:childTnLst>
                    </p:cTn>
                  </p:par>
                  <p:par>
                    <p:cTn id="27" fill="hold">
                      <p:stCondLst>
                        <p:cond delay="indefinite"/>
                      </p:stCondLst>
                      <p:childTnLst>
                        <p:par>
                          <p:cTn id="28" fill="hold">
                            <p:stCondLst>
                              <p:cond delay="0"/>
                            </p:stCondLst>
                            <p:childTnLst>
                              <p:par>
                                <p:cTn id="29" presetID="53" presetClass="exit" presetSubtype="32" fill="hold" nodeType="clickEffect">
                                  <p:stCondLst>
                                    <p:cond delay="0"/>
                                  </p:stCondLst>
                                  <p:childTnLst>
                                    <p:anim calcmode="lin" valueType="num">
                                      <p:cBhvr>
                                        <p:cTn id="30" dur="500"/>
                                        <p:tgtEl>
                                          <p:spTgt spid="20"/>
                                        </p:tgtEl>
                                        <p:attrNameLst>
                                          <p:attrName>ppt_w</p:attrName>
                                        </p:attrNameLst>
                                      </p:cBhvr>
                                      <p:tavLst>
                                        <p:tav tm="0">
                                          <p:val>
                                            <p:strVal val="ppt_w"/>
                                          </p:val>
                                        </p:tav>
                                        <p:tav tm="100000">
                                          <p:val>
                                            <p:fltVal val="0"/>
                                          </p:val>
                                        </p:tav>
                                      </p:tavLst>
                                    </p:anim>
                                    <p:anim calcmode="lin" valueType="num">
                                      <p:cBhvr>
                                        <p:cTn id="31" dur="500"/>
                                        <p:tgtEl>
                                          <p:spTgt spid="20"/>
                                        </p:tgtEl>
                                        <p:attrNameLst>
                                          <p:attrName>ppt_h</p:attrName>
                                        </p:attrNameLst>
                                      </p:cBhvr>
                                      <p:tavLst>
                                        <p:tav tm="0">
                                          <p:val>
                                            <p:strVal val="ppt_h"/>
                                          </p:val>
                                        </p:tav>
                                        <p:tav tm="100000">
                                          <p:val>
                                            <p:fltVal val="0"/>
                                          </p:val>
                                        </p:tav>
                                      </p:tavLst>
                                    </p:anim>
                                    <p:animEffect transition="out" filter="fade">
                                      <p:cBhvr>
                                        <p:cTn id="32" dur="500"/>
                                        <p:tgtEl>
                                          <p:spTgt spid="20"/>
                                        </p:tgtEl>
                                      </p:cBhvr>
                                    </p:animEffect>
                                    <p:set>
                                      <p:cBhvr>
                                        <p:cTn id="33" dur="1" fill="hold">
                                          <p:stCondLst>
                                            <p:cond delay="499"/>
                                          </p:stCondLst>
                                        </p:cTn>
                                        <p:tgtEl>
                                          <p:spTgt spid="20"/>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35" presetClass="path" presetSubtype="0" accel="50000" decel="50000" fill="hold" nodeType="clickEffect">
                                  <p:stCondLst>
                                    <p:cond delay="0"/>
                                  </p:stCondLst>
                                  <p:childTnLst>
                                    <p:animMotion origin="layout" path="M -0.14427 -0.00208 L -0.73972 0.09051 " pathEditMode="relative" rAng="0" ptsTypes="AA">
                                      <p:cBhvr>
                                        <p:cTn id="37" dur="500" fill="hold"/>
                                        <p:tgtEl>
                                          <p:spTgt spid="22"/>
                                        </p:tgtEl>
                                        <p:attrNameLst>
                                          <p:attrName>ppt_x</p:attrName>
                                          <p:attrName>ppt_y</p:attrName>
                                        </p:attrNameLst>
                                      </p:cBhvr>
                                      <p:rCtr x="-29779" y="4630"/>
                                    </p:animMotion>
                                  </p:childTnLst>
                                </p:cTn>
                              </p:par>
                            </p:childTnLst>
                          </p:cTn>
                        </p:par>
                      </p:childTnLst>
                    </p:cTn>
                  </p:par>
                  <p:par>
                    <p:cTn id="38" fill="hold">
                      <p:stCondLst>
                        <p:cond delay="indefinite"/>
                      </p:stCondLst>
                      <p:childTnLst>
                        <p:par>
                          <p:cTn id="39" fill="hold">
                            <p:stCondLst>
                              <p:cond delay="0"/>
                            </p:stCondLst>
                            <p:childTnLst>
                              <p:par>
                                <p:cTn id="40" presetID="14" presetClass="exit" presetSubtype="10" fill="hold" nodeType="clickEffect">
                                  <p:stCondLst>
                                    <p:cond delay="0"/>
                                  </p:stCondLst>
                                  <p:childTnLst>
                                    <p:animEffect transition="out" filter="randombar(horizontal)">
                                      <p:cBhvr>
                                        <p:cTn id="41" dur="500"/>
                                        <p:tgtEl>
                                          <p:spTgt spid="22"/>
                                        </p:tgtEl>
                                      </p:cBhvr>
                                    </p:animEffect>
                                    <p:set>
                                      <p:cBhvr>
                                        <p:cTn id="42" dur="1" fill="hold">
                                          <p:stCondLst>
                                            <p:cond delay="499"/>
                                          </p:stCondLst>
                                        </p:cTn>
                                        <p:tgtEl>
                                          <p:spTgt spid="22"/>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24"/>
                                        </p:tgtEl>
                                        <p:attrNameLst>
                                          <p:attrName>style.visibility</p:attrName>
                                        </p:attrNameLst>
                                      </p:cBhvr>
                                      <p:to>
                                        <p:strVal val="visible"/>
                                      </p:to>
                                    </p:set>
                                    <p:anim calcmode="lin" valueType="num">
                                      <p:cBhvr additive="base">
                                        <p:cTn id="47" dur="500" fill="hold"/>
                                        <p:tgtEl>
                                          <p:spTgt spid="24"/>
                                        </p:tgtEl>
                                        <p:attrNameLst>
                                          <p:attrName>ppt_x</p:attrName>
                                        </p:attrNameLst>
                                      </p:cBhvr>
                                      <p:tavLst>
                                        <p:tav tm="0">
                                          <p:val>
                                            <p:strVal val="#ppt_x"/>
                                          </p:val>
                                        </p:tav>
                                        <p:tav tm="100000">
                                          <p:val>
                                            <p:strVal val="#ppt_x"/>
                                          </p:val>
                                        </p:tav>
                                      </p:tavLst>
                                    </p:anim>
                                    <p:anim calcmode="lin" valueType="num">
                                      <p:cBhvr additive="base">
                                        <p:cTn id="48"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e 11"/>
          <p:cNvGrpSpPr/>
          <p:nvPr/>
        </p:nvGrpSpPr>
        <p:grpSpPr>
          <a:xfrm>
            <a:off x="1281346" y="779704"/>
            <a:ext cx="1308010" cy="400110"/>
            <a:chOff x="2037715" y="892654"/>
            <a:chExt cx="1127024" cy="400110"/>
          </a:xfrm>
        </p:grpSpPr>
        <p:sp>
          <p:nvSpPr>
            <p:cNvPr id="44" name="ZoneTexte 43"/>
            <p:cNvSpPr txBox="1"/>
            <p:nvPr/>
          </p:nvSpPr>
          <p:spPr>
            <a:xfrm>
              <a:off x="2037715" y="892654"/>
              <a:ext cx="1127024"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Définir</a:t>
              </a:r>
            </a:p>
          </p:txBody>
        </p:sp>
        <p:cxnSp>
          <p:nvCxnSpPr>
            <p:cNvPr id="55" name="Connecteur droit 54"/>
            <p:cNvCxnSpPr/>
            <p:nvPr/>
          </p:nvCxnSpPr>
          <p:spPr>
            <a:xfrm>
              <a:off x="2264795" y="1282860"/>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3" name="Groupe 12"/>
          <p:cNvGrpSpPr/>
          <p:nvPr/>
        </p:nvGrpSpPr>
        <p:grpSpPr>
          <a:xfrm>
            <a:off x="3203343" y="779704"/>
            <a:ext cx="1440667" cy="400110"/>
            <a:chOff x="3959712" y="892654"/>
            <a:chExt cx="1241325" cy="400110"/>
          </a:xfrm>
        </p:grpSpPr>
        <p:sp>
          <p:nvSpPr>
            <p:cNvPr id="47" name="ZoneTexte 46"/>
            <p:cNvSpPr txBox="1"/>
            <p:nvPr/>
          </p:nvSpPr>
          <p:spPr>
            <a:xfrm>
              <a:off x="3959712" y="892654"/>
              <a:ext cx="1241325"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b="1" dirty="0">
                  <a:latin typeface="Lato  "/>
                </a:rPr>
                <a:t>Mesurer</a:t>
              </a:r>
            </a:p>
          </p:txBody>
        </p:sp>
        <p:cxnSp>
          <p:nvCxnSpPr>
            <p:cNvPr id="56" name="Connecteur droit 55"/>
            <p:cNvCxnSpPr/>
            <p:nvPr/>
          </p:nvCxnSpPr>
          <p:spPr>
            <a:xfrm>
              <a:off x="4176722" y="1282860"/>
              <a:ext cx="540001" cy="0"/>
            </a:xfrm>
            <a:prstGeom prst="line">
              <a:avLst/>
            </a:prstGeom>
            <a:ln w="28575">
              <a:solidFill>
                <a:srgbClr val="EE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5" name="Groupe 14"/>
          <p:cNvGrpSpPr/>
          <p:nvPr/>
        </p:nvGrpSpPr>
        <p:grpSpPr>
          <a:xfrm>
            <a:off x="5099616" y="779704"/>
            <a:ext cx="1440667" cy="400110"/>
            <a:chOff x="5855985" y="892654"/>
            <a:chExt cx="1241325" cy="400110"/>
          </a:xfrm>
        </p:grpSpPr>
        <p:sp>
          <p:nvSpPr>
            <p:cNvPr id="49" name="ZoneTexte 48"/>
            <p:cNvSpPr txBox="1"/>
            <p:nvPr/>
          </p:nvSpPr>
          <p:spPr>
            <a:xfrm>
              <a:off x="5855985" y="892654"/>
              <a:ext cx="1241325"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Analyser</a:t>
              </a:r>
            </a:p>
          </p:txBody>
        </p:sp>
        <p:cxnSp>
          <p:nvCxnSpPr>
            <p:cNvPr id="58" name="Connecteur droit 57"/>
            <p:cNvCxnSpPr/>
            <p:nvPr/>
          </p:nvCxnSpPr>
          <p:spPr>
            <a:xfrm>
              <a:off x="6047085"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Groupe 15"/>
          <p:cNvGrpSpPr/>
          <p:nvPr/>
        </p:nvGrpSpPr>
        <p:grpSpPr>
          <a:xfrm>
            <a:off x="7135914" y="779704"/>
            <a:ext cx="1561262" cy="400110"/>
            <a:chOff x="7892283" y="892654"/>
            <a:chExt cx="1345234" cy="400110"/>
          </a:xfrm>
        </p:grpSpPr>
        <p:sp>
          <p:nvSpPr>
            <p:cNvPr id="51" name="ZoneTexte 50"/>
            <p:cNvSpPr txBox="1"/>
            <p:nvPr/>
          </p:nvSpPr>
          <p:spPr>
            <a:xfrm>
              <a:off x="7892283" y="892654"/>
              <a:ext cx="1345234"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Améliorer</a:t>
              </a:r>
            </a:p>
          </p:txBody>
        </p:sp>
        <p:cxnSp>
          <p:nvCxnSpPr>
            <p:cNvPr id="60" name="Connecteur droit 59"/>
            <p:cNvCxnSpPr/>
            <p:nvPr/>
          </p:nvCxnSpPr>
          <p:spPr>
            <a:xfrm>
              <a:off x="8083704"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7" name="Groupe 56"/>
          <p:cNvGrpSpPr/>
          <p:nvPr/>
        </p:nvGrpSpPr>
        <p:grpSpPr>
          <a:xfrm>
            <a:off x="9151749" y="779704"/>
            <a:ext cx="1464786" cy="400110"/>
            <a:chOff x="9908118" y="892654"/>
            <a:chExt cx="1262107" cy="400110"/>
          </a:xfrm>
        </p:grpSpPr>
        <p:sp>
          <p:nvSpPr>
            <p:cNvPr id="53" name="ZoneTexte 52"/>
            <p:cNvSpPr txBox="1"/>
            <p:nvPr/>
          </p:nvSpPr>
          <p:spPr>
            <a:xfrm>
              <a:off x="9908118" y="892654"/>
              <a:ext cx="1262107"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Contrôler</a:t>
              </a:r>
            </a:p>
          </p:txBody>
        </p:sp>
        <p:cxnSp>
          <p:nvCxnSpPr>
            <p:cNvPr id="62" name="Connecteur droit 61"/>
            <p:cNvCxnSpPr/>
            <p:nvPr/>
          </p:nvCxnSpPr>
          <p:spPr>
            <a:xfrm>
              <a:off x="10089149"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9" name="Rectangle 58"/>
          <p:cNvSpPr/>
          <p:nvPr/>
        </p:nvSpPr>
        <p:spPr>
          <a:xfrm rot="10800000">
            <a:off x="144038" y="6315373"/>
            <a:ext cx="412293" cy="338554"/>
          </a:xfrm>
          <a:prstGeom prst="rect">
            <a:avLst/>
          </a:prstGeom>
        </p:spPr>
        <p:txBody>
          <a:bodyPr wrap="none">
            <a:spAutoFit/>
          </a:bodyPr>
          <a:lstStyle>
            <a:defPPr>
              <a:defRPr lang="en-US"/>
            </a:defPPr>
            <a:lvl1pPr marL="0" algn="l" defTabSz="914340" rtl="0" eaLnBrk="1" latinLnBrk="0" hangingPunct="1">
              <a:defRPr sz="1800" kern="1200">
                <a:solidFill>
                  <a:schemeClr val="tx1"/>
                </a:solidFill>
                <a:latin typeface="+mn-lt"/>
                <a:ea typeface="+mn-ea"/>
                <a:cs typeface="+mn-cs"/>
              </a:defRPr>
            </a:lvl1pPr>
            <a:lvl2pPr marL="457170"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1" algn="l" defTabSz="914340" rtl="0" eaLnBrk="1" latinLnBrk="0" hangingPunct="1">
              <a:defRPr sz="1800" kern="1200">
                <a:solidFill>
                  <a:schemeClr val="tx1"/>
                </a:solidFill>
                <a:latin typeface="+mn-lt"/>
                <a:ea typeface="+mn-ea"/>
                <a:cs typeface="+mn-cs"/>
              </a:defRPr>
            </a:lvl7pPr>
            <a:lvl8pPr marL="3200193"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a:lstStyle>
          <a:p>
            <a:pPr algn="ctr"/>
            <a:r>
              <a:rPr lang="en-AU" sz="1600" dirty="0">
                <a:solidFill>
                  <a:schemeClr val="bg1"/>
                </a:solidFill>
                <a:latin typeface="Lato"/>
              </a:rPr>
              <a:t>15</a:t>
            </a:r>
          </a:p>
        </p:txBody>
      </p:sp>
      <p:sp>
        <p:nvSpPr>
          <p:cNvPr id="2" name="Espace réservé du numéro de diapositive 1"/>
          <p:cNvSpPr>
            <a:spLocks noGrp="1"/>
          </p:cNvSpPr>
          <p:nvPr>
            <p:ph type="sldNum" sz="quarter" idx="12"/>
          </p:nvPr>
        </p:nvSpPr>
        <p:spPr>
          <a:xfrm>
            <a:off x="9334421" y="6288241"/>
            <a:ext cx="2743200" cy="365125"/>
          </a:xfrm>
        </p:spPr>
        <p:txBody>
          <a:bodyPr vert="horz" lIns="91440" tIns="45720" rIns="91440" bIns="45720" rtlCol="0" anchor="ctr"/>
          <a:lstStyle/>
          <a:p>
            <a:fld id="{6130CD27-AFE4-4E20-B740-5A2305B4E48B}" type="slidenum">
              <a:rPr lang="fr-FR" sz="1600">
                <a:solidFill>
                  <a:schemeClr val="bg1"/>
                </a:solidFill>
                <a:latin typeface="Lato"/>
              </a:rPr>
              <a:pPr/>
              <a:t>15</a:t>
            </a:fld>
            <a:endParaRPr lang="fr-FR" sz="1600" dirty="0">
              <a:solidFill>
                <a:schemeClr val="bg1"/>
              </a:solidFill>
              <a:latin typeface="Lato"/>
            </a:endParaRPr>
          </a:p>
        </p:txBody>
      </p:sp>
      <p:sp>
        <p:nvSpPr>
          <p:cNvPr id="78" name="ZoneTexte 53">
            <a:extLst>
              <a:ext uri="{FF2B5EF4-FFF2-40B4-BE49-F238E27FC236}">
                <a16:creationId xmlns:a16="http://schemas.microsoft.com/office/drawing/2014/main" id="{6F4450BA-9AAA-4FEE-B3C6-7629ACE48039}"/>
              </a:ext>
            </a:extLst>
          </p:cNvPr>
          <p:cNvSpPr txBox="1"/>
          <p:nvPr/>
        </p:nvSpPr>
        <p:spPr>
          <a:xfrm>
            <a:off x="390860" y="74183"/>
            <a:ext cx="1821107"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Environnement </a:t>
            </a:r>
          </a:p>
          <a:p>
            <a:r>
              <a:rPr lang="it-IT" dirty="0"/>
              <a:t>du projet</a:t>
            </a:r>
            <a:endParaRPr lang="fr-FR" dirty="0"/>
          </a:p>
        </p:txBody>
      </p:sp>
      <p:sp>
        <p:nvSpPr>
          <p:cNvPr id="91" name="ZoneTexte 54">
            <a:extLst>
              <a:ext uri="{FF2B5EF4-FFF2-40B4-BE49-F238E27FC236}">
                <a16:creationId xmlns:a16="http://schemas.microsoft.com/office/drawing/2014/main" id="{B24A9C8C-AE54-436E-9627-3001171037C2}"/>
              </a:ext>
            </a:extLst>
          </p:cNvPr>
          <p:cNvSpPr txBox="1"/>
          <p:nvPr/>
        </p:nvSpPr>
        <p:spPr>
          <a:xfrm>
            <a:off x="6433678" y="74184"/>
            <a:ext cx="1784587" cy="646331"/>
          </a:xfrm>
          <a:prstGeom prst="rect">
            <a:avLst/>
          </a:prstGeom>
          <a:solidFill>
            <a:srgbClr val="020088"/>
          </a:solidFill>
        </p:spPr>
        <p:txBody>
          <a:bodyPr wrap="square" rtlCol="0">
            <a:spAutoFit/>
          </a:bodyPr>
          <a:lstStyle>
            <a:defPPr>
              <a:defRPr lang="fr-FR"/>
            </a:defPPr>
            <a:lvl1pPr algn="ctr">
              <a:defRPr>
                <a:solidFill>
                  <a:schemeClr val="bg1"/>
                </a:solidFill>
                <a:latin typeface="Lato  "/>
              </a:defRPr>
            </a:lvl1pPr>
          </a:lstStyle>
          <a:p>
            <a:r>
              <a:rPr lang="it-IT" dirty="0"/>
              <a:t>Mise en oeuvre du projet</a:t>
            </a:r>
            <a:endParaRPr lang="fr-FR" dirty="0"/>
          </a:p>
        </p:txBody>
      </p:sp>
      <p:sp>
        <p:nvSpPr>
          <p:cNvPr id="92" name="ZoneTexte 55">
            <a:extLst>
              <a:ext uri="{FF2B5EF4-FFF2-40B4-BE49-F238E27FC236}">
                <a16:creationId xmlns:a16="http://schemas.microsoft.com/office/drawing/2014/main" id="{37F626EB-7569-4651-A107-92056F5647D1}"/>
              </a:ext>
            </a:extLst>
          </p:cNvPr>
          <p:cNvSpPr txBox="1"/>
          <p:nvPr/>
        </p:nvSpPr>
        <p:spPr>
          <a:xfrm>
            <a:off x="9319488" y="74730"/>
            <a:ext cx="1752879" cy="646331"/>
          </a:xfrm>
          <a:prstGeom prst="rect">
            <a:avLst/>
          </a:prstGeom>
          <a:solidFill>
            <a:schemeClr val="bg2"/>
          </a:solidFill>
        </p:spPr>
        <p:txBody>
          <a:bodyPr wrap="square" rtlCol="0">
            <a:spAutoFit/>
          </a:bodyPr>
          <a:lstStyle/>
          <a:p>
            <a:pPr algn="ctr"/>
            <a:r>
              <a:rPr lang="it-IT" dirty="0">
                <a:latin typeface="Lato  "/>
              </a:rPr>
              <a:t>Conclusion et</a:t>
            </a:r>
          </a:p>
          <a:p>
            <a:pPr algn="ctr"/>
            <a:r>
              <a:rPr lang="it-IT" dirty="0">
                <a:latin typeface="Lato  "/>
              </a:rPr>
              <a:t> Perspectives</a:t>
            </a:r>
            <a:endParaRPr lang="fr-FR" dirty="0">
              <a:latin typeface="Lato  "/>
            </a:endParaRPr>
          </a:p>
        </p:txBody>
      </p:sp>
      <p:cxnSp>
        <p:nvCxnSpPr>
          <p:cNvPr id="93" name="Connecteur droit 56">
            <a:extLst>
              <a:ext uri="{FF2B5EF4-FFF2-40B4-BE49-F238E27FC236}">
                <a16:creationId xmlns:a16="http://schemas.microsoft.com/office/drawing/2014/main" id="{C56F36DF-7BA7-4C08-8F04-CE88255FEA0F}"/>
              </a:ext>
            </a:extLst>
          </p:cNvPr>
          <p:cNvCxnSpPr>
            <a:cxnSpLocks/>
          </p:cNvCxnSpPr>
          <p:nvPr/>
        </p:nvCxnSpPr>
        <p:spPr>
          <a:xfrm>
            <a:off x="11077903" y="410171"/>
            <a:ext cx="793875"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94" name="Connecteur droit 57">
            <a:extLst>
              <a:ext uri="{FF2B5EF4-FFF2-40B4-BE49-F238E27FC236}">
                <a16:creationId xmlns:a16="http://schemas.microsoft.com/office/drawing/2014/main" id="{3ECE51A5-C702-40C3-A387-7D101E5CC9DC}"/>
              </a:ext>
            </a:extLst>
          </p:cNvPr>
          <p:cNvCxnSpPr>
            <a:cxnSpLocks/>
            <a:stCxn id="78" idx="3"/>
            <a:endCxn id="100" idx="1"/>
          </p:cNvCxnSpPr>
          <p:nvPr/>
        </p:nvCxnSpPr>
        <p:spPr>
          <a:xfrm>
            <a:off x="2211967" y="397349"/>
            <a:ext cx="1101223"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95" name="Connecteur droit 58">
            <a:extLst>
              <a:ext uri="{FF2B5EF4-FFF2-40B4-BE49-F238E27FC236}">
                <a16:creationId xmlns:a16="http://schemas.microsoft.com/office/drawing/2014/main" id="{4BB2F680-0AB5-4D3E-BD93-5FD34EA7EB6A}"/>
              </a:ext>
            </a:extLst>
          </p:cNvPr>
          <p:cNvCxnSpPr>
            <a:cxnSpLocks/>
            <a:stCxn id="91" idx="3"/>
            <a:endCxn id="92" idx="1"/>
          </p:cNvCxnSpPr>
          <p:nvPr/>
        </p:nvCxnSpPr>
        <p:spPr>
          <a:xfrm>
            <a:off x="8218265" y="397350"/>
            <a:ext cx="1101223" cy="546"/>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96" name="Group 3">
            <a:extLst>
              <a:ext uri="{FF2B5EF4-FFF2-40B4-BE49-F238E27FC236}">
                <a16:creationId xmlns:a16="http://schemas.microsoft.com/office/drawing/2014/main" id="{899FC0A3-EEE0-4D32-9FA3-D69351D7C30B}"/>
              </a:ext>
            </a:extLst>
          </p:cNvPr>
          <p:cNvGrpSpPr/>
          <p:nvPr/>
        </p:nvGrpSpPr>
        <p:grpSpPr>
          <a:xfrm rot="10800000">
            <a:off x="11632841" y="410171"/>
            <a:ext cx="504000" cy="6352766"/>
            <a:chOff x="-5771165" y="1295207"/>
            <a:chExt cx="504000" cy="6352766"/>
          </a:xfrm>
          <a:solidFill>
            <a:srgbClr val="020088"/>
          </a:solidFill>
        </p:grpSpPr>
        <p:cxnSp>
          <p:nvCxnSpPr>
            <p:cNvPr id="97" name="Straight Connector 9">
              <a:extLst>
                <a:ext uri="{FF2B5EF4-FFF2-40B4-BE49-F238E27FC236}">
                  <a16:creationId xmlns:a16="http://schemas.microsoft.com/office/drawing/2014/main" id="{3E3BED29-644E-48B5-AFCB-042B8EE42DC8}"/>
                </a:ext>
              </a:extLst>
            </p:cNvPr>
            <p:cNvCxnSpPr>
              <a:cxnSpLocks/>
            </p:cNvCxnSpPr>
            <p:nvPr/>
          </p:nvCxnSpPr>
          <p:spPr>
            <a:xfrm rot="10800000" flipV="1">
              <a:off x="-5506102" y="1610316"/>
              <a:ext cx="0" cy="6037657"/>
            </a:xfrm>
            <a:prstGeom prst="line">
              <a:avLst/>
            </a:prstGeom>
            <a:grpFill/>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98" name="Teardrop 38">
              <a:extLst>
                <a:ext uri="{FF2B5EF4-FFF2-40B4-BE49-F238E27FC236}">
                  <a16:creationId xmlns:a16="http://schemas.microsoft.com/office/drawing/2014/main" id="{1196F955-8D6C-41D6-9A31-AB2446601066}"/>
                </a:ext>
              </a:extLst>
            </p:cNvPr>
            <p:cNvSpPr/>
            <p:nvPr/>
          </p:nvSpPr>
          <p:spPr>
            <a:xfrm rot="8100000">
              <a:off x="-5771165" y="1295207"/>
              <a:ext cx="504000" cy="504000"/>
            </a:xfrm>
            <a:prstGeom prst="teardrop">
              <a:avLst>
                <a:gd name="adj" fmla="val 9891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dirty="0"/>
            </a:p>
          </p:txBody>
        </p:sp>
      </p:grpSp>
      <p:sp>
        <p:nvSpPr>
          <p:cNvPr id="99" name="Espace réservé du numéro de diapositive 1">
            <a:extLst>
              <a:ext uri="{FF2B5EF4-FFF2-40B4-BE49-F238E27FC236}">
                <a16:creationId xmlns:a16="http://schemas.microsoft.com/office/drawing/2014/main" id="{A1997D78-9A12-444B-A0B2-F4FD381E35A9}"/>
              </a:ext>
            </a:extLst>
          </p:cNvPr>
          <p:cNvSpPr txBox="1">
            <a:spLocks/>
          </p:cNvSpPr>
          <p:nvPr/>
        </p:nvSpPr>
        <p:spPr>
          <a:xfrm>
            <a:off x="9361851" y="6302087"/>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solidFill>
                <a:latin typeface="Lato"/>
              </a:rPr>
              <a:t>11</a:t>
            </a:r>
          </a:p>
        </p:txBody>
      </p:sp>
      <p:sp>
        <p:nvSpPr>
          <p:cNvPr id="100" name="ZoneTexte 54">
            <a:extLst>
              <a:ext uri="{FF2B5EF4-FFF2-40B4-BE49-F238E27FC236}">
                <a16:creationId xmlns:a16="http://schemas.microsoft.com/office/drawing/2014/main" id="{1EB769E5-B687-4117-8216-81780C7D7D11}"/>
              </a:ext>
            </a:extLst>
          </p:cNvPr>
          <p:cNvSpPr txBox="1"/>
          <p:nvPr/>
        </p:nvSpPr>
        <p:spPr>
          <a:xfrm>
            <a:off x="3313190" y="74184"/>
            <a:ext cx="2024481"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Contexte Général</a:t>
            </a:r>
          </a:p>
          <a:p>
            <a:r>
              <a:rPr lang="it-IT" dirty="0"/>
              <a:t> du projet</a:t>
            </a:r>
          </a:p>
        </p:txBody>
      </p:sp>
      <p:cxnSp>
        <p:nvCxnSpPr>
          <p:cNvPr id="101" name="Connecteur droit 57">
            <a:extLst>
              <a:ext uri="{FF2B5EF4-FFF2-40B4-BE49-F238E27FC236}">
                <a16:creationId xmlns:a16="http://schemas.microsoft.com/office/drawing/2014/main" id="{FD0AE152-642A-4463-8A8E-2BCD7B97F60B}"/>
              </a:ext>
            </a:extLst>
          </p:cNvPr>
          <p:cNvCxnSpPr>
            <a:cxnSpLocks/>
          </p:cNvCxnSpPr>
          <p:nvPr/>
        </p:nvCxnSpPr>
        <p:spPr>
          <a:xfrm>
            <a:off x="5337671" y="397350"/>
            <a:ext cx="1096007" cy="0"/>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52" name="ZoneTexte 64">
            <a:extLst>
              <a:ext uri="{FF2B5EF4-FFF2-40B4-BE49-F238E27FC236}">
                <a16:creationId xmlns:a16="http://schemas.microsoft.com/office/drawing/2014/main" id="{451251FE-92F0-4140-8A07-204E14EDF2F3}"/>
              </a:ext>
            </a:extLst>
          </p:cNvPr>
          <p:cNvSpPr txBox="1"/>
          <p:nvPr/>
        </p:nvSpPr>
        <p:spPr>
          <a:xfrm>
            <a:off x="144037" y="2010778"/>
            <a:ext cx="4604213"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rgbClr val="808080">
                    <a:lumMod val="40000"/>
                    <a:lumOff val="60000"/>
                  </a:srgbClr>
                </a:solidFill>
                <a:latin typeface="Lato  "/>
              </a:rPr>
              <a:t>2- Mesure des  indicateurs GMF et DPU</a:t>
            </a:r>
          </a:p>
        </p:txBody>
      </p:sp>
      <p:sp>
        <p:nvSpPr>
          <p:cNvPr id="54" name="ZoneTexte 65">
            <a:extLst>
              <a:ext uri="{FF2B5EF4-FFF2-40B4-BE49-F238E27FC236}">
                <a16:creationId xmlns:a16="http://schemas.microsoft.com/office/drawing/2014/main" id="{379112BA-51F3-4397-852F-1AD8C59F9D9E}"/>
              </a:ext>
            </a:extLst>
          </p:cNvPr>
          <p:cNvSpPr txBox="1"/>
          <p:nvPr/>
        </p:nvSpPr>
        <p:spPr>
          <a:xfrm>
            <a:off x="141961" y="1560117"/>
            <a:ext cx="3939959"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b="1" dirty="0">
                <a:solidFill>
                  <a:srgbClr val="000000"/>
                </a:solidFill>
                <a:latin typeface="Lato  "/>
              </a:rPr>
              <a:t>1- Chronométrage  de  temps de retouche</a:t>
            </a:r>
          </a:p>
        </p:txBody>
      </p:sp>
      <p:graphicFrame>
        <p:nvGraphicFramePr>
          <p:cNvPr id="4" name="Table 3">
            <a:extLst>
              <a:ext uri="{FF2B5EF4-FFF2-40B4-BE49-F238E27FC236}">
                <a16:creationId xmlns:a16="http://schemas.microsoft.com/office/drawing/2014/main" id="{24A03E39-024E-4562-B525-3BBF4F52A5CF}"/>
              </a:ext>
            </a:extLst>
          </p:cNvPr>
          <p:cNvGraphicFramePr>
            <a:graphicFrameLocks noGrp="1"/>
          </p:cNvGraphicFramePr>
          <p:nvPr/>
        </p:nvGraphicFramePr>
        <p:xfrm>
          <a:off x="4081920" y="1529441"/>
          <a:ext cx="7148943" cy="4930750"/>
        </p:xfrm>
        <a:graphic>
          <a:graphicData uri="http://schemas.openxmlformats.org/drawingml/2006/table">
            <a:tbl>
              <a:tblPr firstRow="1" firstCol="1" bandRow="1"/>
              <a:tblGrid>
                <a:gridCol w="1627605">
                  <a:extLst>
                    <a:ext uri="{9D8B030D-6E8A-4147-A177-3AD203B41FA5}">
                      <a16:colId xmlns:a16="http://schemas.microsoft.com/office/drawing/2014/main" val="1252049890"/>
                    </a:ext>
                  </a:extLst>
                </a:gridCol>
                <a:gridCol w="2761365">
                  <a:extLst>
                    <a:ext uri="{9D8B030D-6E8A-4147-A177-3AD203B41FA5}">
                      <a16:colId xmlns:a16="http://schemas.microsoft.com/office/drawing/2014/main" val="380656456"/>
                    </a:ext>
                  </a:extLst>
                </a:gridCol>
                <a:gridCol w="2759973">
                  <a:extLst>
                    <a:ext uri="{9D8B030D-6E8A-4147-A177-3AD203B41FA5}">
                      <a16:colId xmlns:a16="http://schemas.microsoft.com/office/drawing/2014/main" val="2592823261"/>
                    </a:ext>
                  </a:extLst>
                </a:gridCol>
              </a:tblGrid>
              <a:tr h="371092">
                <a:tc>
                  <a:txBody>
                    <a:bodyPr/>
                    <a:lstStyle/>
                    <a:p>
                      <a:pPr>
                        <a:lnSpc>
                          <a:spcPct val="107000"/>
                        </a:lnSpc>
                        <a:spcAft>
                          <a:spcPts val="800"/>
                        </a:spcAft>
                      </a:pPr>
                      <a:r>
                        <a:rPr lang="fr-FR" sz="1100">
                          <a:effectLst/>
                          <a:latin typeface="Calibri" panose="020F0502020204030204" pitchFamily="34" charset="0"/>
                          <a:ea typeface="Calibri" panose="020F0502020204030204" pitchFamily="34" charset="0"/>
                          <a:cs typeface="Arial" panose="020B0604020202020204" pitchFamily="34" charset="0"/>
                        </a:rPr>
                        <a:t> </a:t>
                      </a:r>
                    </a:p>
                  </a:txBody>
                  <a:tcPr marL="0" marR="0"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rowSpan="2">
                  <a:txBody>
                    <a:bodyPr/>
                    <a:lstStyle/>
                    <a:p>
                      <a:pPr algn="ctr">
                        <a:lnSpc>
                          <a:spcPct val="150000"/>
                        </a:lnSpc>
                        <a:spcAft>
                          <a:spcPts val="0"/>
                        </a:spcAft>
                      </a:pPr>
                      <a:r>
                        <a:rPr lang="fr-FR" sz="1800" b="1" dirty="0">
                          <a:effectLst/>
                          <a:latin typeface="Times New Roman" panose="02020603050405020304" pitchFamily="18" charset="0"/>
                          <a:ea typeface="Calibri" panose="020F0502020204030204" pitchFamily="34" charset="0"/>
                          <a:cs typeface="Arial" panose="020B0604020202020204" pitchFamily="34" charset="0"/>
                        </a:rPr>
                        <a:t>Défaut V1 (C</a:t>
                      </a:r>
                      <a:r>
                        <a:rPr lang="fr-FR" sz="2000" b="1" baseline="-25000" dirty="0">
                          <a:effectLst/>
                          <a:latin typeface="Times New Roman" panose="02020603050405020304" pitchFamily="18" charset="0"/>
                          <a:ea typeface="Calibri" panose="020F0502020204030204" pitchFamily="34" charset="0"/>
                          <a:cs typeface="Arial" panose="020B0604020202020204" pitchFamily="34" charset="0"/>
                        </a:rPr>
                        <a:t>min)</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rowSpan="2">
                  <a:txBody>
                    <a:bodyPr/>
                    <a:lstStyle/>
                    <a:p>
                      <a:pPr algn="ctr">
                        <a:lnSpc>
                          <a:spcPct val="150000"/>
                        </a:lnSpc>
                        <a:spcAft>
                          <a:spcPts val="0"/>
                        </a:spcAft>
                      </a:pPr>
                      <a:r>
                        <a:rPr lang="fr-FR" sz="1800" b="1" dirty="0">
                          <a:effectLst/>
                          <a:latin typeface="Times New Roman" panose="02020603050405020304" pitchFamily="18" charset="0"/>
                          <a:ea typeface="Calibri" panose="020F0502020204030204" pitchFamily="34" charset="0"/>
                          <a:cs typeface="Arial" panose="020B0604020202020204" pitchFamily="34" charset="0"/>
                        </a:rPr>
                        <a:t>DéfautV2 (C</a:t>
                      </a:r>
                      <a:r>
                        <a:rPr lang="fr-FR" sz="2000" b="1" baseline="-25000" dirty="0">
                          <a:effectLst/>
                          <a:latin typeface="Times New Roman" panose="02020603050405020304" pitchFamily="18" charset="0"/>
                          <a:ea typeface="Calibri" panose="020F0502020204030204" pitchFamily="34" charset="0"/>
                          <a:cs typeface="Arial" panose="020B0604020202020204" pitchFamily="34" charset="0"/>
                        </a:rPr>
                        <a:t>min)</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extLst>
                  <a:ext uri="{0D108BD9-81ED-4DB2-BD59-A6C34878D82A}">
                    <a16:rowId xmlns:a16="http://schemas.microsoft.com/office/drawing/2014/main" val="2470714064"/>
                  </a:ext>
                </a:extLst>
              </a:tr>
              <a:tr h="733133">
                <a:tc>
                  <a:txBody>
                    <a:bodyPr/>
                    <a:lstStyle/>
                    <a:p>
                      <a:pPr algn="ctr">
                        <a:lnSpc>
                          <a:spcPct val="150000"/>
                        </a:lnSpc>
                        <a:spcAft>
                          <a:spcPts val="0"/>
                        </a:spcAft>
                      </a:pPr>
                      <a:r>
                        <a:rPr lang="fr-FR" sz="1200" dirty="0">
                          <a:effectLst/>
                          <a:latin typeface="Times New Roman" panose="02020603050405020304" pitchFamily="18" charset="0"/>
                          <a:ea typeface="Calibri" panose="020F0502020204030204" pitchFamily="34" charset="0"/>
                          <a:cs typeface="Arial" panose="020B0604020202020204" pitchFamily="34" charset="0"/>
                        </a:rPr>
                        <a:t> </a:t>
                      </a:r>
                      <a:endParaRPr lang="fr-FR" sz="1100" dirty="0">
                        <a:effectLst/>
                        <a:latin typeface="Calibri" panose="020F0502020204030204" pitchFamily="34" charset="0"/>
                        <a:ea typeface="Calibri" panose="020F0502020204030204" pitchFamily="34" charset="0"/>
                        <a:cs typeface="Arial" panose="020B0604020202020204" pitchFamily="34" charset="0"/>
                      </a:endParaRPr>
                    </a:p>
                    <a:p>
                      <a:pPr algn="ctr">
                        <a:lnSpc>
                          <a:spcPct val="150000"/>
                        </a:lnSpc>
                        <a:spcAft>
                          <a:spcPts val="0"/>
                        </a:spcAft>
                      </a:pPr>
                      <a:r>
                        <a:rPr lang="fr-FR" sz="1800" b="1" dirty="0">
                          <a:effectLst/>
                          <a:latin typeface="Times New Roman" panose="02020603050405020304" pitchFamily="18" charset="0"/>
                          <a:ea typeface="Calibri" panose="020F0502020204030204" pitchFamily="34" charset="0"/>
                          <a:cs typeface="Arial" panose="020B0604020202020204" pitchFamily="34" charset="0"/>
                        </a:rPr>
                        <a:t>Mesures</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vMerge="1">
                  <a:txBody>
                    <a:bodyPr/>
                    <a:lstStyle/>
                    <a:p>
                      <a:endParaRPr lang="fr-FR"/>
                    </a:p>
                  </a:txBody>
                  <a:tcPr/>
                </a:tc>
                <a:tc vMerge="1">
                  <a:txBody>
                    <a:bodyPr/>
                    <a:lstStyle/>
                    <a:p>
                      <a:endParaRPr lang="fr-FR"/>
                    </a:p>
                  </a:txBody>
                  <a:tcPr/>
                </a:tc>
                <a:extLst>
                  <a:ext uri="{0D108BD9-81ED-4DB2-BD59-A6C34878D82A}">
                    <a16:rowId xmlns:a16="http://schemas.microsoft.com/office/drawing/2014/main" val="10280468"/>
                  </a:ext>
                </a:extLst>
              </a:tr>
              <a:tr h="345905">
                <a:tc>
                  <a:txBody>
                    <a:bodyPr/>
                    <a:lstStyle/>
                    <a:p>
                      <a:pPr algn="ctr">
                        <a:lnSpc>
                          <a:spcPct val="150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1</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36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30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0229073"/>
                  </a:ext>
                </a:extLst>
              </a:tr>
              <a:tr h="345905">
                <a:tc>
                  <a:txBody>
                    <a:bodyPr/>
                    <a:lstStyle/>
                    <a:p>
                      <a:pPr algn="ctr">
                        <a:lnSpc>
                          <a:spcPct val="150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2</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38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50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82587377"/>
                  </a:ext>
                </a:extLst>
              </a:tr>
              <a:tr h="345905">
                <a:tc>
                  <a:txBody>
                    <a:bodyPr/>
                    <a:lstStyle/>
                    <a:p>
                      <a:pPr algn="ctr">
                        <a:lnSpc>
                          <a:spcPct val="150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3</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56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65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794113"/>
                  </a:ext>
                </a:extLst>
              </a:tr>
              <a:tr h="345905">
                <a:tc>
                  <a:txBody>
                    <a:bodyPr/>
                    <a:lstStyle/>
                    <a:p>
                      <a:pPr algn="ctr">
                        <a:lnSpc>
                          <a:spcPct val="150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4</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48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34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9255886"/>
                  </a:ext>
                </a:extLst>
              </a:tr>
              <a:tr h="345905">
                <a:tc>
                  <a:txBody>
                    <a:bodyPr/>
                    <a:lstStyle/>
                    <a:p>
                      <a:pPr algn="ctr">
                        <a:lnSpc>
                          <a:spcPct val="150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5</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57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72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2063476"/>
                  </a:ext>
                </a:extLst>
              </a:tr>
              <a:tr h="345905">
                <a:tc>
                  <a:txBody>
                    <a:bodyPr/>
                    <a:lstStyle/>
                    <a:p>
                      <a:pPr algn="ctr">
                        <a:lnSpc>
                          <a:spcPct val="150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6</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56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54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4871567"/>
                  </a:ext>
                </a:extLst>
              </a:tr>
              <a:tr h="345905">
                <a:tc>
                  <a:txBody>
                    <a:bodyPr/>
                    <a:lstStyle/>
                    <a:p>
                      <a:pPr algn="ctr">
                        <a:lnSpc>
                          <a:spcPct val="150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7</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69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78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2476780"/>
                  </a:ext>
                </a:extLst>
              </a:tr>
              <a:tr h="345905">
                <a:tc>
                  <a:txBody>
                    <a:bodyPr/>
                    <a:lstStyle/>
                    <a:p>
                      <a:pPr algn="ctr">
                        <a:lnSpc>
                          <a:spcPct val="150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8</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57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35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02159080"/>
                  </a:ext>
                </a:extLst>
              </a:tr>
              <a:tr h="345905">
                <a:tc>
                  <a:txBody>
                    <a:bodyPr/>
                    <a:lstStyle/>
                    <a:p>
                      <a:pPr algn="ctr">
                        <a:lnSpc>
                          <a:spcPct val="150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9</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68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54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73154236"/>
                  </a:ext>
                </a:extLst>
              </a:tr>
              <a:tr h="345905">
                <a:tc>
                  <a:txBody>
                    <a:bodyPr/>
                    <a:lstStyle/>
                    <a:p>
                      <a:pPr algn="ctr">
                        <a:lnSpc>
                          <a:spcPct val="150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10</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75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dirty="0">
                          <a:effectLst/>
                          <a:latin typeface="Times New Roman" panose="02020603050405020304" pitchFamily="18" charset="0"/>
                          <a:ea typeface="Calibri" panose="020F0502020204030204" pitchFamily="34" charset="0"/>
                          <a:cs typeface="Arial" panose="020B0604020202020204" pitchFamily="34" charset="0"/>
                        </a:rPr>
                        <a:t>52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1266241"/>
                  </a:ext>
                </a:extLst>
              </a:tr>
              <a:tr h="345905">
                <a:tc>
                  <a:txBody>
                    <a:bodyPr/>
                    <a:lstStyle/>
                    <a:p>
                      <a:pPr algn="ctr">
                        <a:lnSpc>
                          <a:spcPct val="150000"/>
                        </a:lnSpc>
                        <a:spcAft>
                          <a:spcPts val="0"/>
                        </a:spcAft>
                      </a:pPr>
                      <a:r>
                        <a:rPr lang="fr-FR" sz="1800" b="1" dirty="0">
                          <a:effectLst/>
                          <a:latin typeface="Times New Roman" panose="02020603050405020304" pitchFamily="18" charset="0"/>
                          <a:ea typeface="Calibri" panose="020F0502020204030204" pitchFamily="34" charset="0"/>
                          <a:cs typeface="Arial" panose="020B0604020202020204" pitchFamily="34" charset="0"/>
                        </a:rPr>
                        <a:t>Moyenne</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a:lnSpc>
                          <a:spcPct val="150000"/>
                        </a:lnSpc>
                        <a:spcAft>
                          <a:spcPts val="0"/>
                        </a:spcAft>
                      </a:pPr>
                      <a:r>
                        <a:rPr lang="fr-FR" sz="1800" b="1" dirty="0">
                          <a:solidFill>
                            <a:schemeClr val="tx1"/>
                          </a:solidFill>
                          <a:effectLst/>
                          <a:latin typeface="Times New Roman" panose="02020603050405020304" pitchFamily="18" charset="0"/>
                          <a:ea typeface="Calibri" panose="020F0502020204030204" pitchFamily="34" charset="0"/>
                          <a:cs typeface="Arial" panose="020B0604020202020204" pitchFamily="34" charset="0"/>
                        </a:rPr>
                        <a:t>560</a:t>
                      </a:r>
                      <a:endParaRPr lang="fr-FR" sz="16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a:lnSpc>
                          <a:spcPct val="150000"/>
                        </a:lnSpc>
                        <a:spcAft>
                          <a:spcPts val="0"/>
                        </a:spcAft>
                      </a:pPr>
                      <a:r>
                        <a:rPr lang="fr-FR" sz="1800" b="1" dirty="0">
                          <a:solidFill>
                            <a:schemeClr val="tx1"/>
                          </a:solidFill>
                          <a:effectLst/>
                          <a:latin typeface="Times New Roman" panose="02020603050405020304" pitchFamily="18" charset="0"/>
                          <a:ea typeface="Calibri" panose="020F0502020204030204" pitchFamily="34" charset="0"/>
                          <a:cs typeface="Arial" panose="020B0604020202020204" pitchFamily="34" charset="0"/>
                        </a:rPr>
                        <a:t>524</a:t>
                      </a:r>
                      <a:endParaRPr lang="fr-FR" sz="16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extLst>
                  <a:ext uri="{0D108BD9-81ED-4DB2-BD59-A6C34878D82A}">
                    <a16:rowId xmlns:a16="http://schemas.microsoft.com/office/drawing/2014/main" val="312297587"/>
                  </a:ext>
                </a:extLst>
              </a:tr>
            </a:tbl>
          </a:graphicData>
        </a:graphic>
      </p:graphicFrame>
    </p:spTree>
    <p:extLst>
      <p:ext uri="{BB962C8B-B14F-4D97-AF65-F5344CB8AC3E}">
        <p14:creationId xmlns:p14="http://schemas.microsoft.com/office/powerpoint/2010/main" val="321100204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nodeType="afterEffect">
                                  <p:stCondLst>
                                    <p:cond delay="0"/>
                                  </p:stCondLst>
                                  <p:childTnLst>
                                    <p:animRot by="120000">
                                      <p:cBhvr>
                                        <p:cTn id="6" dur="100" fill="hold">
                                          <p:stCondLst>
                                            <p:cond delay="0"/>
                                          </p:stCondLst>
                                        </p:cTn>
                                        <p:tgtEl>
                                          <p:spTgt spid="13"/>
                                        </p:tgtEl>
                                        <p:attrNameLst>
                                          <p:attrName>r</p:attrName>
                                        </p:attrNameLst>
                                      </p:cBhvr>
                                    </p:animRot>
                                    <p:animRot by="-240000">
                                      <p:cBhvr>
                                        <p:cTn id="7" dur="200" fill="hold">
                                          <p:stCondLst>
                                            <p:cond delay="200"/>
                                          </p:stCondLst>
                                        </p:cTn>
                                        <p:tgtEl>
                                          <p:spTgt spid="13"/>
                                        </p:tgtEl>
                                        <p:attrNameLst>
                                          <p:attrName>r</p:attrName>
                                        </p:attrNameLst>
                                      </p:cBhvr>
                                    </p:animRot>
                                    <p:animRot by="240000">
                                      <p:cBhvr>
                                        <p:cTn id="8" dur="200" fill="hold">
                                          <p:stCondLst>
                                            <p:cond delay="400"/>
                                          </p:stCondLst>
                                        </p:cTn>
                                        <p:tgtEl>
                                          <p:spTgt spid="13"/>
                                        </p:tgtEl>
                                        <p:attrNameLst>
                                          <p:attrName>r</p:attrName>
                                        </p:attrNameLst>
                                      </p:cBhvr>
                                    </p:animRot>
                                    <p:animRot by="-240000">
                                      <p:cBhvr>
                                        <p:cTn id="9" dur="200" fill="hold">
                                          <p:stCondLst>
                                            <p:cond delay="600"/>
                                          </p:stCondLst>
                                        </p:cTn>
                                        <p:tgtEl>
                                          <p:spTgt spid="13"/>
                                        </p:tgtEl>
                                        <p:attrNameLst>
                                          <p:attrName>r</p:attrName>
                                        </p:attrNameLst>
                                      </p:cBhvr>
                                    </p:animRot>
                                    <p:animRot by="120000">
                                      <p:cBhvr>
                                        <p:cTn id="10" dur="200" fill="hold">
                                          <p:stCondLst>
                                            <p:cond delay="800"/>
                                          </p:stCondLst>
                                        </p:cTn>
                                        <p:tgtEl>
                                          <p:spTgt spid="13"/>
                                        </p:tgtEl>
                                        <p:attrNameLst>
                                          <p:attrName>r</p:attrName>
                                        </p:attrNameLst>
                                      </p:cBhvr>
                                    </p:animRot>
                                  </p:childTnLst>
                                </p:cTn>
                              </p:par>
                            </p:childTnLst>
                          </p:cTn>
                        </p:par>
                        <p:par>
                          <p:cTn id="11" fill="hold">
                            <p:stCondLst>
                              <p:cond delay="1000"/>
                            </p:stCondLst>
                            <p:childTnLst>
                              <p:par>
                                <p:cTn id="12" presetID="43" presetClass="entr" presetSubtype="0" fill="hold" grpId="0" nodeType="afterEffect">
                                  <p:stCondLst>
                                    <p:cond delay="0"/>
                                  </p:stCondLst>
                                  <p:childTnLst>
                                    <p:set>
                                      <p:cBhvr>
                                        <p:cTn id="13" dur="1" fill="hold">
                                          <p:stCondLst>
                                            <p:cond delay="0"/>
                                          </p:stCondLst>
                                        </p:cTn>
                                        <p:tgtEl>
                                          <p:spTgt spid="54"/>
                                        </p:tgtEl>
                                        <p:attrNameLst>
                                          <p:attrName>style.visibility</p:attrName>
                                        </p:attrNameLst>
                                      </p:cBhvr>
                                      <p:to>
                                        <p:strVal val="visible"/>
                                      </p:to>
                                    </p:set>
                                    <p:animEffect transition="in" filter="fade">
                                      <p:cBhvr>
                                        <p:cTn id="14" dur="100"/>
                                        <p:tgtEl>
                                          <p:spTgt spid="54"/>
                                        </p:tgtEl>
                                      </p:cBhvr>
                                    </p:animEffect>
                                    <p:anim calcmode="lin" valueType="num">
                                      <p:cBhvr>
                                        <p:cTn id="15" dur="400" fill="hold"/>
                                        <p:tgtEl>
                                          <p:spTgt spid="54"/>
                                        </p:tgtEl>
                                        <p:attrNameLst>
                                          <p:attrName>ppt_x</p:attrName>
                                        </p:attrNameLst>
                                      </p:cBhvr>
                                      <p:tavLst>
                                        <p:tav tm="0">
                                          <p:val>
                                            <p:strVal val="#ppt_x"/>
                                          </p:val>
                                        </p:tav>
                                        <p:tav tm="100000">
                                          <p:val>
                                            <p:strVal val="#ppt_x"/>
                                          </p:val>
                                        </p:tav>
                                      </p:tavLst>
                                    </p:anim>
                                    <p:anim calcmode="lin" valueType="num">
                                      <p:cBhvr>
                                        <p:cTn id="16" dur="400" fill="hold"/>
                                        <p:tgtEl>
                                          <p:spTgt spid="54"/>
                                        </p:tgtEl>
                                        <p:attrNameLst>
                                          <p:attrName>ppt_y</p:attrName>
                                        </p:attrNameLst>
                                      </p:cBhvr>
                                      <p:tavLst>
                                        <p:tav tm="0">
                                          <p:val>
                                            <p:strVal val="#ppt_y+0.31"/>
                                          </p:val>
                                        </p:tav>
                                        <p:tav tm="100000">
                                          <p:val>
                                            <p:strVal val="#ppt_y+0.31"/>
                                          </p:val>
                                        </p:tav>
                                      </p:tavLst>
                                    </p:anim>
                                    <p:anim calcmode="lin" valueType="num">
                                      <p:cBhvr>
                                        <p:cTn id="17" dur="600" decel="50000" fill="hold">
                                          <p:stCondLst>
                                            <p:cond delay="400"/>
                                          </p:stCondLst>
                                        </p:cTn>
                                        <p:tgtEl>
                                          <p:spTgt spid="54"/>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18" dur="600" decel="50000" fill="hold">
                                          <p:stCondLst>
                                            <p:cond delay="400"/>
                                          </p:stCondLst>
                                        </p:cTn>
                                        <p:tgtEl>
                                          <p:spTgt spid="54"/>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par>
                                <p:cTn id="19" presetID="43" presetClass="entr" presetSubtype="0" fill="hold" grpId="0" nodeType="with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fade">
                                      <p:cBhvr>
                                        <p:cTn id="21" dur="100"/>
                                        <p:tgtEl>
                                          <p:spTgt spid="52"/>
                                        </p:tgtEl>
                                      </p:cBhvr>
                                    </p:animEffect>
                                    <p:anim calcmode="lin" valueType="num">
                                      <p:cBhvr>
                                        <p:cTn id="22" dur="400" fill="hold"/>
                                        <p:tgtEl>
                                          <p:spTgt spid="52"/>
                                        </p:tgtEl>
                                        <p:attrNameLst>
                                          <p:attrName>ppt_x</p:attrName>
                                        </p:attrNameLst>
                                      </p:cBhvr>
                                      <p:tavLst>
                                        <p:tav tm="0">
                                          <p:val>
                                            <p:strVal val="#ppt_x"/>
                                          </p:val>
                                        </p:tav>
                                        <p:tav tm="100000">
                                          <p:val>
                                            <p:strVal val="#ppt_x"/>
                                          </p:val>
                                        </p:tav>
                                      </p:tavLst>
                                    </p:anim>
                                    <p:anim calcmode="lin" valueType="num">
                                      <p:cBhvr>
                                        <p:cTn id="23" dur="400" fill="hold"/>
                                        <p:tgtEl>
                                          <p:spTgt spid="52"/>
                                        </p:tgtEl>
                                        <p:attrNameLst>
                                          <p:attrName>ppt_y</p:attrName>
                                        </p:attrNameLst>
                                      </p:cBhvr>
                                      <p:tavLst>
                                        <p:tav tm="0">
                                          <p:val>
                                            <p:strVal val="#ppt_y+0.31"/>
                                          </p:val>
                                        </p:tav>
                                        <p:tav tm="100000">
                                          <p:val>
                                            <p:strVal val="#ppt_y+0.31"/>
                                          </p:val>
                                        </p:tav>
                                      </p:tavLst>
                                    </p:anim>
                                    <p:anim calcmode="lin" valueType="num">
                                      <p:cBhvr>
                                        <p:cTn id="24" dur="600" decel="50000" fill="hold">
                                          <p:stCondLst>
                                            <p:cond delay="400"/>
                                          </p:stCondLst>
                                        </p:cTn>
                                        <p:tgtEl>
                                          <p:spTgt spid="52"/>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25" dur="600" decel="50000" fill="hold">
                                          <p:stCondLst>
                                            <p:cond delay="400"/>
                                          </p:stCondLst>
                                        </p:cTn>
                                        <p:tgtEl>
                                          <p:spTgt spid="52"/>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childTnLst>
                          </p:cTn>
                        </p:par>
                        <p:par>
                          <p:cTn id="26" fill="hold">
                            <p:stCondLst>
                              <p:cond delay="2000"/>
                            </p:stCondLst>
                            <p:childTnLst>
                              <p:par>
                                <p:cTn id="27" presetID="27" presetClass="emph" presetSubtype="0" fill="remove" grpId="1" nodeType="afterEffect">
                                  <p:stCondLst>
                                    <p:cond delay="0"/>
                                  </p:stCondLst>
                                  <p:childTnLst>
                                    <p:animClr clrSpc="rgb" dir="cw">
                                      <p:cBhvr override="childStyle">
                                        <p:cTn id="28" dur="250" autoRev="1" fill="remove"/>
                                        <p:tgtEl>
                                          <p:spTgt spid="54"/>
                                        </p:tgtEl>
                                        <p:attrNameLst>
                                          <p:attrName>style.color</p:attrName>
                                        </p:attrNameLst>
                                      </p:cBhvr>
                                      <p:to>
                                        <a:schemeClr val="bg1"/>
                                      </p:to>
                                    </p:animClr>
                                    <p:animClr clrSpc="rgb" dir="cw">
                                      <p:cBhvr>
                                        <p:cTn id="29" dur="250" autoRev="1" fill="remove"/>
                                        <p:tgtEl>
                                          <p:spTgt spid="54"/>
                                        </p:tgtEl>
                                        <p:attrNameLst>
                                          <p:attrName>fillcolor</p:attrName>
                                        </p:attrNameLst>
                                      </p:cBhvr>
                                      <p:to>
                                        <a:schemeClr val="bg1"/>
                                      </p:to>
                                    </p:animClr>
                                    <p:set>
                                      <p:cBhvr>
                                        <p:cTn id="30" dur="250" autoRev="1" fill="remove"/>
                                        <p:tgtEl>
                                          <p:spTgt spid="54"/>
                                        </p:tgtEl>
                                        <p:attrNameLst>
                                          <p:attrName>fill.type</p:attrName>
                                        </p:attrNameLst>
                                      </p:cBhvr>
                                      <p:to>
                                        <p:strVal val="solid"/>
                                      </p:to>
                                    </p:set>
                                    <p:set>
                                      <p:cBhvr>
                                        <p:cTn id="31" dur="250" autoRev="1" fill="remove"/>
                                        <p:tgtEl>
                                          <p:spTgt spid="54"/>
                                        </p:tgtEl>
                                        <p:attrNameLst>
                                          <p:attrName>fill.on</p:attrName>
                                        </p:attrNameLst>
                                      </p:cBhvr>
                                      <p:to>
                                        <p:strVal val="true"/>
                                      </p:to>
                                    </p:set>
                                  </p:childTnLst>
                                </p:cTn>
                              </p:par>
                            </p:childTnLst>
                          </p:cTn>
                        </p:par>
                      </p:childTnLst>
                    </p:cTn>
                  </p:par>
                  <p:par>
                    <p:cTn id="32" fill="hold">
                      <p:stCondLst>
                        <p:cond delay="indefinite"/>
                      </p:stCondLst>
                      <p:childTnLst>
                        <p:par>
                          <p:cTn id="33" fill="hold">
                            <p:stCondLst>
                              <p:cond delay="0"/>
                            </p:stCondLst>
                            <p:childTnLst>
                              <p:par>
                                <p:cTn id="34" presetID="2" presetClass="entr" presetSubtype="4" fill="hold" nodeType="clickEffect">
                                  <p:stCondLst>
                                    <p:cond delay="0"/>
                                  </p:stCondLst>
                                  <p:childTnLst>
                                    <p:set>
                                      <p:cBhvr>
                                        <p:cTn id="35" dur="1" fill="hold">
                                          <p:stCondLst>
                                            <p:cond delay="0"/>
                                          </p:stCondLst>
                                        </p:cTn>
                                        <p:tgtEl>
                                          <p:spTgt spid="4"/>
                                        </p:tgtEl>
                                        <p:attrNameLst>
                                          <p:attrName>style.visibility</p:attrName>
                                        </p:attrNameLst>
                                      </p:cBhvr>
                                      <p:to>
                                        <p:strVal val="visible"/>
                                      </p:to>
                                    </p:set>
                                    <p:anim calcmode="lin" valueType="num">
                                      <p:cBhvr additive="base">
                                        <p:cTn id="36" dur="500" fill="hold"/>
                                        <p:tgtEl>
                                          <p:spTgt spid="4"/>
                                        </p:tgtEl>
                                        <p:attrNameLst>
                                          <p:attrName>ppt_x</p:attrName>
                                        </p:attrNameLst>
                                      </p:cBhvr>
                                      <p:tavLst>
                                        <p:tav tm="0">
                                          <p:val>
                                            <p:strVal val="#ppt_x"/>
                                          </p:val>
                                        </p:tav>
                                        <p:tav tm="100000">
                                          <p:val>
                                            <p:strVal val="#ppt_x"/>
                                          </p:val>
                                        </p:tav>
                                      </p:tavLst>
                                    </p:anim>
                                    <p:anim calcmode="lin" valueType="num">
                                      <p:cBhvr additive="base">
                                        <p:cTn id="37"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4" grpId="0"/>
      <p:bldP spid="54"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5" name="Connecteur droit 104"/>
          <p:cNvCxnSpPr/>
          <p:nvPr/>
        </p:nvCxnSpPr>
        <p:spPr>
          <a:xfrm>
            <a:off x="7032886" y="2380605"/>
            <a:ext cx="4579881"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pic>
        <p:nvPicPr>
          <p:cNvPr id="106" name="Picture 546"/>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rot="10800000">
            <a:off x="-1781176" y="1952752"/>
            <a:ext cx="1476375" cy="8667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rgbClr val="000000"/>
                </a:solidFill>
                <a:miter lim="800000"/>
                <a:headEnd/>
                <a:tailEnd/>
              </a14:hiddenLine>
            </a:ext>
          </a:extLst>
        </p:spPr>
      </p:pic>
      <p:pic>
        <p:nvPicPr>
          <p:cNvPr id="107" name="Image 10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5697" y="1351884"/>
            <a:ext cx="1663221" cy="1134475"/>
          </a:xfrm>
          <a:prstGeom prst="rect">
            <a:avLst/>
          </a:prstGeom>
        </p:spPr>
      </p:pic>
      <p:pic>
        <p:nvPicPr>
          <p:cNvPr id="108" name="Image 10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77438" y="1753575"/>
            <a:ext cx="1290179" cy="1125125"/>
          </a:xfrm>
          <a:prstGeom prst="rect">
            <a:avLst/>
          </a:prstGeom>
        </p:spPr>
      </p:pic>
      <p:pic>
        <p:nvPicPr>
          <p:cNvPr id="109" name="Picture 546"/>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rot="10800000">
            <a:off x="-3645949" y="1974844"/>
            <a:ext cx="1476375" cy="8667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rgbClr val="000000"/>
                </a:solidFill>
                <a:miter lim="800000"/>
                <a:headEnd/>
                <a:tailEnd/>
              </a14:hiddenLine>
            </a:ext>
          </a:extLst>
        </p:spPr>
      </p:pic>
      <p:pic>
        <p:nvPicPr>
          <p:cNvPr id="110" name="Picture 546"/>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rot="10800000">
            <a:off x="-5260871" y="1974844"/>
            <a:ext cx="1476375" cy="8667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CDED6D8E-FBAA-459B-B74F-1CDE0815D72F}"/>
              </a:ext>
            </a:extLst>
          </p:cNvPr>
          <p:cNvPicPr>
            <a:picLocks noChangeAspect="1"/>
          </p:cNvPicPr>
          <p:nvPr/>
        </p:nvPicPr>
        <p:blipFill>
          <a:blip r:embed="rId7"/>
          <a:stretch>
            <a:fillRect/>
          </a:stretch>
        </p:blipFill>
        <p:spPr>
          <a:xfrm>
            <a:off x="4536764" y="3256228"/>
            <a:ext cx="5486400" cy="3028950"/>
          </a:xfrm>
          <a:prstGeom prst="rect">
            <a:avLst/>
          </a:prstGeom>
        </p:spPr>
      </p:pic>
      <p:pic>
        <p:nvPicPr>
          <p:cNvPr id="24" name="Picture 23">
            <a:extLst>
              <a:ext uri="{FF2B5EF4-FFF2-40B4-BE49-F238E27FC236}">
                <a16:creationId xmlns:a16="http://schemas.microsoft.com/office/drawing/2014/main" id="{59A7F02F-94BF-43F2-9115-A745AF2AE8D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5088" y="3111663"/>
            <a:ext cx="3617837" cy="3617837"/>
          </a:xfrm>
          <a:prstGeom prst="rect">
            <a:avLst/>
          </a:prstGeom>
        </p:spPr>
      </p:pic>
      <p:pic>
        <p:nvPicPr>
          <p:cNvPr id="22" name="Picture 21">
            <a:extLst>
              <a:ext uri="{FF2B5EF4-FFF2-40B4-BE49-F238E27FC236}">
                <a16:creationId xmlns:a16="http://schemas.microsoft.com/office/drawing/2014/main" id="{4CF019C6-5DFF-476C-A7F7-278AE225D10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flipH="1">
            <a:off x="8720562" y="1555127"/>
            <a:ext cx="2596707" cy="2602006"/>
          </a:xfrm>
          <a:prstGeom prst="rect">
            <a:avLst/>
          </a:prstGeom>
        </p:spPr>
      </p:pic>
      <p:grpSp>
        <p:nvGrpSpPr>
          <p:cNvPr id="86" name="Groupe 11">
            <a:extLst>
              <a:ext uri="{FF2B5EF4-FFF2-40B4-BE49-F238E27FC236}">
                <a16:creationId xmlns:a16="http://schemas.microsoft.com/office/drawing/2014/main" id="{06D034C8-D4C1-4742-BDE8-4858727C68ED}"/>
              </a:ext>
            </a:extLst>
          </p:cNvPr>
          <p:cNvGrpSpPr/>
          <p:nvPr/>
        </p:nvGrpSpPr>
        <p:grpSpPr>
          <a:xfrm>
            <a:off x="1281346" y="779704"/>
            <a:ext cx="1308010" cy="400110"/>
            <a:chOff x="2037715" y="892654"/>
            <a:chExt cx="1127024" cy="400110"/>
          </a:xfrm>
        </p:grpSpPr>
        <p:sp>
          <p:nvSpPr>
            <p:cNvPr id="87" name="ZoneTexte 43">
              <a:extLst>
                <a:ext uri="{FF2B5EF4-FFF2-40B4-BE49-F238E27FC236}">
                  <a16:creationId xmlns:a16="http://schemas.microsoft.com/office/drawing/2014/main" id="{48A32D11-CCB8-4932-AC2C-C7F16E189695}"/>
                </a:ext>
              </a:extLst>
            </p:cNvPr>
            <p:cNvSpPr txBox="1"/>
            <p:nvPr/>
          </p:nvSpPr>
          <p:spPr>
            <a:xfrm>
              <a:off x="2037715" y="892654"/>
              <a:ext cx="1127024"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Définir</a:t>
              </a:r>
            </a:p>
          </p:txBody>
        </p:sp>
        <p:cxnSp>
          <p:nvCxnSpPr>
            <p:cNvPr id="88" name="Connecteur droit 54">
              <a:extLst>
                <a:ext uri="{FF2B5EF4-FFF2-40B4-BE49-F238E27FC236}">
                  <a16:creationId xmlns:a16="http://schemas.microsoft.com/office/drawing/2014/main" id="{16EA2604-BE96-447F-811C-4328A42698E1}"/>
                </a:ext>
              </a:extLst>
            </p:cNvPr>
            <p:cNvCxnSpPr/>
            <p:nvPr/>
          </p:nvCxnSpPr>
          <p:spPr>
            <a:xfrm>
              <a:off x="2264795" y="1282860"/>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9" name="Groupe 12">
            <a:extLst>
              <a:ext uri="{FF2B5EF4-FFF2-40B4-BE49-F238E27FC236}">
                <a16:creationId xmlns:a16="http://schemas.microsoft.com/office/drawing/2014/main" id="{847B8919-3E0B-4353-B8F3-7E6F64B642CC}"/>
              </a:ext>
            </a:extLst>
          </p:cNvPr>
          <p:cNvGrpSpPr/>
          <p:nvPr/>
        </p:nvGrpSpPr>
        <p:grpSpPr>
          <a:xfrm>
            <a:off x="3203343" y="779704"/>
            <a:ext cx="1440667" cy="400110"/>
            <a:chOff x="3959712" y="892654"/>
            <a:chExt cx="1241325" cy="400110"/>
          </a:xfrm>
        </p:grpSpPr>
        <p:sp>
          <p:nvSpPr>
            <p:cNvPr id="90" name="ZoneTexte 46">
              <a:extLst>
                <a:ext uri="{FF2B5EF4-FFF2-40B4-BE49-F238E27FC236}">
                  <a16:creationId xmlns:a16="http://schemas.microsoft.com/office/drawing/2014/main" id="{ED370175-E212-448C-A622-A01FCD10F42B}"/>
                </a:ext>
              </a:extLst>
            </p:cNvPr>
            <p:cNvSpPr txBox="1"/>
            <p:nvPr/>
          </p:nvSpPr>
          <p:spPr>
            <a:xfrm>
              <a:off x="3959712" y="892654"/>
              <a:ext cx="1241325"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b="1" dirty="0">
                  <a:latin typeface="Lato  "/>
                </a:rPr>
                <a:t>Mesurer</a:t>
              </a:r>
            </a:p>
          </p:txBody>
        </p:sp>
        <p:cxnSp>
          <p:nvCxnSpPr>
            <p:cNvPr id="91" name="Connecteur droit 55">
              <a:extLst>
                <a:ext uri="{FF2B5EF4-FFF2-40B4-BE49-F238E27FC236}">
                  <a16:creationId xmlns:a16="http://schemas.microsoft.com/office/drawing/2014/main" id="{23C20597-6204-4CEC-B839-59D1EC23C4B2}"/>
                </a:ext>
              </a:extLst>
            </p:cNvPr>
            <p:cNvCxnSpPr/>
            <p:nvPr/>
          </p:nvCxnSpPr>
          <p:spPr>
            <a:xfrm>
              <a:off x="4176722" y="1282860"/>
              <a:ext cx="540001" cy="0"/>
            </a:xfrm>
            <a:prstGeom prst="line">
              <a:avLst/>
            </a:prstGeom>
            <a:ln w="28575">
              <a:solidFill>
                <a:srgbClr val="EE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2" name="Groupe 14">
            <a:extLst>
              <a:ext uri="{FF2B5EF4-FFF2-40B4-BE49-F238E27FC236}">
                <a16:creationId xmlns:a16="http://schemas.microsoft.com/office/drawing/2014/main" id="{B48EE7E6-6FDD-4736-806A-5096C63A1156}"/>
              </a:ext>
            </a:extLst>
          </p:cNvPr>
          <p:cNvGrpSpPr/>
          <p:nvPr/>
        </p:nvGrpSpPr>
        <p:grpSpPr>
          <a:xfrm>
            <a:off x="5099616" y="779704"/>
            <a:ext cx="1440667" cy="400110"/>
            <a:chOff x="5855985" y="892654"/>
            <a:chExt cx="1241325" cy="400110"/>
          </a:xfrm>
        </p:grpSpPr>
        <p:sp>
          <p:nvSpPr>
            <p:cNvPr id="93" name="ZoneTexte 48">
              <a:extLst>
                <a:ext uri="{FF2B5EF4-FFF2-40B4-BE49-F238E27FC236}">
                  <a16:creationId xmlns:a16="http://schemas.microsoft.com/office/drawing/2014/main" id="{CAD9C836-7EE1-4A45-85FD-94D5A9449ECC}"/>
                </a:ext>
              </a:extLst>
            </p:cNvPr>
            <p:cNvSpPr txBox="1"/>
            <p:nvPr/>
          </p:nvSpPr>
          <p:spPr>
            <a:xfrm>
              <a:off x="5855985" y="892654"/>
              <a:ext cx="1241325"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Analyser</a:t>
              </a:r>
            </a:p>
          </p:txBody>
        </p:sp>
        <p:cxnSp>
          <p:nvCxnSpPr>
            <p:cNvPr id="94" name="Connecteur droit 57">
              <a:extLst>
                <a:ext uri="{FF2B5EF4-FFF2-40B4-BE49-F238E27FC236}">
                  <a16:creationId xmlns:a16="http://schemas.microsoft.com/office/drawing/2014/main" id="{12E7CBDA-5BA6-46B8-A736-BB134510A3ED}"/>
                </a:ext>
              </a:extLst>
            </p:cNvPr>
            <p:cNvCxnSpPr/>
            <p:nvPr/>
          </p:nvCxnSpPr>
          <p:spPr>
            <a:xfrm>
              <a:off x="6047085"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5" name="Groupe 15">
            <a:extLst>
              <a:ext uri="{FF2B5EF4-FFF2-40B4-BE49-F238E27FC236}">
                <a16:creationId xmlns:a16="http://schemas.microsoft.com/office/drawing/2014/main" id="{C565C87B-8694-4563-B670-DC8524B07FF1}"/>
              </a:ext>
            </a:extLst>
          </p:cNvPr>
          <p:cNvGrpSpPr/>
          <p:nvPr/>
        </p:nvGrpSpPr>
        <p:grpSpPr>
          <a:xfrm>
            <a:off x="7135914" y="779704"/>
            <a:ext cx="1561262" cy="400110"/>
            <a:chOff x="7892283" y="892654"/>
            <a:chExt cx="1345234" cy="400110"/>
          </a:xfrm>
        </p:grpSpPr>
        <p:sp>
          <p:nvSpPr>
            <p:cNvPr id="96" name="ZoneTexte 50">
              <a:extLst>
                <a:ext uri="{FF2B5EF4-FFF2-40B4-BE49-F238E27FC236}">
                  <a16:creationId xmlns:a16="http://schemas.microsoft.com/office/drawing/2014/main" id="{D2684268-0BFC-46D6-A858-8825278D54ED}"/>
                </a:ext>
              </a:extLst>
            </p:cNvPr>
            <p:cNvSpPr txBox="1"/>
            <p:nvPr/>
          </p:nvSpPr>
          <p:spPr>
            <a:xfrm>
              <a:off x="7892283" y="892654"/>
              <a:ext cx="1345234"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Améliorer</a:t>
              </a:r>
            </a:p>
          </p:txBody>
        </p:sp>
        <p:cxnSp>
          <p:nvCxnSpPr>
            <p:cNvPr id="97" name="Connecteur droit 59">
              <a:extLst>
                <a:ext uri="{FF2B5EF4-FFF2-40B4-BE49-F238E27FC236}">
                  <a16:creationId xmlns:a16="http://schemas.microsoft.com/office/drawing/2014/main" id="{7F9CC98F-8ADF-4C0B-A3F9-A0DC32698D49}"/>
                </a:ext>
              </a:extLst>
            </p:cNvPr>
            <p:cNvCxnSpPr/>
            <p:nvPr/>
          </p:nvCxnSpPr>
          <p:spPr>
            <a:xfrm>
              <a:off x="8083704"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8" name="Groupe 56">
            <a:extLst>
              <a:ext uri="{FF2B5EF4-FFF2-40B4-BE49-F238E27FC236}">
                <a16:creationId xmlns:a16="http://schemas.microsoft.com/office/drawing/2014/main" id="{64B1E393-CAA8-4ADC-8B89-FF7E70D0BB09}"/>
              </a:ext>
            </a:extLst>
          </p:cNvPr>
          <p:cNvGrpSpPr/>
          <p:nvPr/>
        </p:nvGrpSpPr>
        <p:grpSpPr>
          <a:xfrm>
            <a:off x="9151749" y="779704"/>
            <a:ext cx="1464786" cy="400110"/>
            <a:chOff x="9908118" y="892654"/>
            <a:chExt cx="1262107" cy="400110"/>
          </a:xfrm>
        </p:grpSpPr>
        <p:sp>
          <p:nvSpPr>
            <p:cNvPr id="99" name="ZoneTexte 52">
              <a:extLst>
                <a:ext uri="{FF2B5EF4-FFF2-40B4-BE49-F238E27FC236}">
                  <a16:creationId xmlns:a16="http://schemas.microsoft.com/office/drawing/2014/main" id="{EFAC20F5-296D-4702-960B-F6AA4D547128}"/>
                </a:ext>
              </a:extLst>
            </p:cNvPr>
            <p:cNvSpPr txBox="1"/>
            <p:nvPr/>
          </p:nvSpPr>
          <p:spPr>
            <a:xfrm>
              <a:off x="9908118" y="892654"/>
              <a:ext cx="1262107"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Contrôler</a:t>
              </a:r>
            </a:p>
          </p:txBody>
        </p:sp>
        <p:cxnSp>
          <p:nvCxnSpPr>
            <p:cNvPr id="100" name="Connecteur droit 61">
              <a:extLst>
                <a:ext uri="{FF2B5EF4-FFF2-40B4-BE49-F238E27FC236}">
                  <a16:creationId xmlns:a16="http://schemas.microsoft.com/office/drawing/2014/main" id="{7F412417-22E6-48E0-BD6B-66E87A974A79}"/>
                </a:ext>
              </a:extLst>
            </p:cNvPr>
            <p:cNvCxnSpPr/>
            <p:nvPr/>
          </p:nvCxnSpPr>
          <p:spPr>
            <a:xfrm>
              <a:off x="10089149"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01" name="ZoneTexte 53">
            <a:extLst>
              <a:ext uri="{FF2B5EF4-FFF2-40B4-BE49-F238E27FC236}">
                <a16:creationId xmlns:a16="http://schemas.microsoft.com/office/drawing/2014/main" id="{31B8D6AF-06F4-438B-B02B-3B2C081ED8C5}"/>
              </a:ext>
            </a:extLst>
          </p:cNvPr>
          <p:cNvSpPr txBox="1"/>
          <p:nvPr/>
        </p:nvSpPr>
        <p:spPr>
          <a:xfrm>
            <a:off x="390860" y="74183"/>
            <a:ext cx="1821107"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Environnement </a:t>
            </a:r>
          </a:p>
          <a:p>
            <a:r>
              <a:rPr lang="it-IT" dirty="0"/>
              <a:t>du projet</a:t>
            </a:r>
            <a:endParaRPr lang="fr-FR" dirty="0"/>
          </a:p>
        </p:txBody>
      </p:sp>
      <p:sp>
        <p:nvSpPr>
          <p:cNvPr id="102" name="ZoneTexte 54">
            <a:extLst>
              <a:ext uri="{FF2B5EF4-FFF2-40B4-BE49-F238E27FC236}">
                <a16:creationId xmlns:a16="http://schemas.microsoft.com/office/drawing/2014/main" id="{CBEF177B-1005-4BA6-8DCA-DD7FB84C4122}"/>
              </a:ext>
            </a:extLst>
          </p:cNvPr>
          <p:cNvSpPr txBox="1"/>
          <p:nvPr/>
        </p:nvSpPr>
        <p:spPr>
          <a:xfrm>
            <a:off x="6433678" y="74184"/>
            <a:ext cx="1784587" cy="646331"/>
          </a:xfrm>
          <a:prstGeom prst="rect">
            <a:avLst/>
          </a:prstGeom>
          <a:solidFill>
            <a:srgbClr val="020088"/>
          </a:solidFill>
        </p:spPr>
        <p:txBody>
          <a:bodyPr wrap="square" rtlCol="0">
            <a:spAutoFit/>
          </a:bodyPr>
          <a:lstStyle>
            <a:defPPr>
              <a:defRPr lang="fr-FR"/>
            </a:defPPr>
            <a:lvl1pPr algn="ctr">
              <a:defRPr>
                <a:solidFill>
                  <a:schemeClr val="bg1"/>
                </a:solidFill>
                <a:latin typeface="Lato  "/>
              </a:defRPr>
            </a:lvl1pPr>
          </a:lstStyle>
          <a:p>
            <a:r>
              <a:rPr lang="it-IT" dirty="0"/>
              <a:t>Mise en oeuvre du projet</a:t>
            </a:r>
            <a:endParaRPr lang="fr-FR" dirty="0"/>
          </a:p>
        </p:txBody>
      </p:sp>
      <p:sp>
        <p:nvSpPr>
          <p:cNvPr id="103" name="ZoneTexte 55">
            <a:extLst>
              <a:ext uri="{FF2B5EF4-FFF2-40B4-BE49-F238E27FC236}">
                <a16:creationId xmlns:a16="http://schemas.microsoft.com/office/drawing/2014/main" id="{82983433-19A0-4955-AC4A-495149BA5E51}"/>
              </a:ext>
            </a:extLst>
          </p:cNvPr>
          <p:cNvSpPr txBox="1"/>
          <p:nvPr/>
        </p:nvSpPr>
        <p:spPr>
          <a:xfrm>
            <a:off x="9319488" y="74730"/>
            <a:ext cx="1752879" cy="646331"/>
          </a:xfrm>
          <a:prstGeom prst="rect">
            <a:avLst/>
          </a:prstGeom>
          <a:solidFill>
            <a:schemeClr val="bg2"/>
          </a:solidFill>
        </p:spPr>
        <p:txBody>
          <a:bodyPr wrap="square" rtlCol="0">
            <a:spAutoFit/>
          </a:bodyPr>
          <a:lstStyle/>
          <a:p>
            <a:pPr algn="ctr"/>
            <a:r>
              <a:rPr lang="it-IT" dirty="0">
                <a:latin typeface="Lato  "/>
              </a:rPr>
              <a:t>Conclusion et</a:t>
            </a:r>
          </a:p>
          <a:p>
            <a:pPr algn="ctr"/>
            <a:r>
              <a:rPr lang="it-IT" dirty="0">
                <a:latin typeface="Lato  "/>
              </a:rPr>
              <a:t> Perspectives</a:t>
            </a:r>
            <a:endParaRPr lang="fr-FR" dirty="0">
              <a:latin typeface="Lato  "/>
            </a:endParaRPr>
          </a:p>
        </p:txBody>
      </p:sp>
      <p:cxnSp>
        <p:nvCxnSpPr>
          <p:cNvPr id="104" name="Connecteur droit 56">
            <a:extLst>
              <a:ext uri="{FF2B5EF4-FFF2-40B4-BE49-F238E27FC236}">
                <a16:creationId xmlns:a16="http://schemas.microsoft.com/office/drawing/2014/main" id="{F1491F89-8C84-4A07-8597-DCEB0FFC0463}"/>
              </a:ext>
            </a:extLst>
          </p:cNvPr>
          <p:cNvCxnSpPr>
            <a:cxnSpLocks/>
          </p:cNvCxnSpPr>
          <p:nvPr/>
        </p:nvCxnSpPr>
        <p:spPr>
          <a:xfrm>
            <a:off x="11077903" y="410171"/>
            <a:ext cx="793875"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111" name="Connecteur droit 57">
            <a:extLst>
              <a:ext uri="{FF2B5EF4-FFF2-40B4-BE49-F238E27FC236}">
                <a16:creationId xmlns:a16="http://schemas.microsoft.com/office/drawing/2014/main" id="{80268B45-8DB4-41FE-9AA1-402DC3442573}"/>
              </a:ext>
            </a:extLst>
          </p:cNvPr>
          <p:cNvCxnSpPr>
            <a:cxnSpLocks/>
            <a:stCxn id="101" idx="3"/>
            <a:endCxn id="116" idx="1"/>
          </p:cNvCxnSpPr>
          <p:nvPr/>
        </p:nvCxnSpPr>
        <p:spPr>
          <a:xfrm>
            <a:off x="2211967" y="397349"/>
            <a:ext cx="1101223"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112" name="Group 3">
            <a:extLst>
              <a:ext uri="{FF2B5EF4-FFF2-40B4-BE49-F238E27FC236}">
                <a16:creationId xmlns:a16="http://schemas.microsoft.com/office/drawing/2014/main" id="{BC081BC5-B238-4F3D-8445-E9A93C564CE1}"/>
              </a:ext>
            </a:extLst>
          </p:cNvPr>
          <p:cNvGrpSpPr/>
          <p:nvPr/>
        </p:nvGrpSpPr>
        <p:grpSpPr>
          <a:xfrm rot="10800000">
            <a:off x="11632841" y="410171"/>
            <a:ext cx="504000" cy="6352766"/>
            <a:chOff x="-5771165" y="1295207"/>
            <a:chExt cx="504000" cy="6352766"/>
          </a:xfrm>
          <a:solidFill>
            <a:srgbClr val="020088"/>
          </a:solidFill>
        </p:grpSpPr>
        <p:cxnSp>
          <p:nvCxnSpPr>
            <p:cNvPr id="113" name="Straight Connector 9">
              <a:extLst>
                <a:ext uri="{FF2B5EF4-FFF2-40B4-BE49-F238E27FC236}">
                  <a16:creationId xmlns:a16="http://schemas.microsoft.com/office/drawing/2014/main" id="{FE19AC43-7B41-4278-8441-CE894B87E7A0}"/>
                </a:ext>
              </a:extLst>
            </p:cNvPr>
            <p:cNvCxnSpPr>
              <a:cxnSpLocks/>
            </p:cNvCxnSpPr>
            <p:nvPr/>
          </p:nvCxnSpPr>
          <p:spPr>
            <a:xfrm rot="10800000" flipV="1">
              <a:off x="-5506102" y="1610316"/>
              <a:ext cx="0" cy="6037657"/>
            </a:xfrm>
            <a:prstGeom prst="line">
              <a:avLst/>
            </a:prstGeom>
            <a:grpFill/>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114" name="Teardrop 38">
              <a:extLst>
                <a:ext uri="{FF2B5EF4-FFF2-40B4-BE49-F238E27FC236}">
                  <a16:creationId xmlns:a16="http://schemas.microsoft.com/office/drawing/2014/main" id="{D07123AC-D2C9-4912-827E-0ACB3D128E8B}"/>
                </a:ext>
              </a:extLst>
            </p:cNvPr>
            <p:cNvSpPr/>
            <p:nvPr/>
          </p:nvSpPr>
          <p:spPr>
            <a:xfrm rot="8100000">
              <a:off x="-5771165" y="1295207"/>
              <a:ext cx="504000" cy="504000"/>
            </a:xfrm>
            <a:prstGeom prst="teardrop">
              <a:avLst>
                <a:gd name="adj" fmla="val 9891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dirty="0"/>
            </a:p>
          </p:txBody>
        </p:sp>
      </p:grpSp>
      <p:sp>
        <p:nvSpPr>
          <p:cNvPr id="115" name="Espace réservé du numéro de diapositive 1">
            <a:extLst>
              <a:ext uri="{FF2B5EF4-FFF2-40B4-BE49-F238E27FC236}">
                <a16:creationId xmlns:a16="http://schemas.microsoft.com/office/drawing/2014/main" id="{24E8FCA1-3B2E-4011-B936-89852957D5A3}"/>
              </a:ext>
            </a:extLst>
          </p:cNvPr>
          <p:cNvSpPr txBox="1">
            <a:spLocks/>
          </p:cNvSpPr>
          <p:nvPr/>
        </p:nvSpPr>
        <p:spPr>
          <a:xfrm>
            <a:off x="9357861" y="6297581"/>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solidFill>
                <a:latin typeface="Lato"/>
              </a:rPr>
              <a:t>11</a:t>
            </a:r>
          </a:p>
        </p:txBody>
      </p:sp>
      <p:sp>
        <p:nvSpPr>
          <p:cNvPr id="116" name="ZoneTexte 54">
            <a:extLst>
              <a:ext uri="{FF2B5EF4-FFF2-40B4-BE49-F238E27FC236}">
                <a16:creationId xmlns:a16="http://schemas.microsoft.com/office/drawing/2014/main" id="{765C6660-0D26-4009-BD01-B88CCF2F7101}"/>
              </a:ext>
            </a:extLst>
          </p:cNvPr>
          <p:cNvSpPr txBox="1"/>
          <p:nvPr/>
        </p:nvSpPr>
        <p:spPr>
          <a:xfrm>
            <a:off x="3313190" y="74184"/>
            <a:ext cx="2024481"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Contexte Général</a:t>
            </a:r>
          </a:p>
          <a:p>
            <a:r>
              <a:rPr lang="it-IT" dirty="0"/>
              <a:t> du projet</a:t>
            </a:r>
          </a:p>
        </p:txBody>
      </p:sp>
      <p:cxnSp>
        <p:nvCxnSpPr>
          <p:cNvPr id="117" name="Connecteur droit 57">
            <a:extLst>
              <a:ext uri="{FF2B5EF4-FFF2-40B4-BE49-F238E27FC236}">
                <a16:creationId xmlns:a16="http://schemas.microsoft.com/office/drawing/2014/main" id="{B18652BF-806B-4FAB-8EB3-4DE726B1D9E9}"/>
              </a:ext>
            </a:extLst>
          </p:cNvPr>
          <p:cNvCxnSpPr>
            <a:cxnSpLocks/>
          </p:cNvCxnSpPr>
          <p:nvPr/>
        </p:nvCxnSpPr>
        <p:spPr>
          <a:xfrm>
            <a:off x="5337671" y="397350"/>
            <a:ext cx="1096007" cy="0"/>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118" name="ZoneTexte 64">
            <a:extLst>
              <a:ext uri="{FF2B5EF4-FFF2-40B4-BE49-F238E27FC236}">
                <a16:creationId xmlns:a16="http://schemas.microsoft.com/office/drawing/2014/main" id="{C925BFAD-FDC5-47F2-97FC-B82161F19ED1}"/>
              </a:ext>
            </a:extLst>
          </p:cNvPr>
          <p:cNvSpPr txBox="1"/>
          <p:nvPr/>
        </p:nvSpPr>
        <p:spPr>
          <a:xfrm>
            <a:off x="88849" y="1730583"/>
            <a:ext cx="4604213"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rgbClr val="808080">
                    <a:lumMod val="40000"/>
                    <a:lumOff val="60000"/>
                  </a:srgbClr>
                </a:solidFill>
                <a:latin typeface="Lato  "/>
              </a:rPr>
              <a:t>2- Mesure des  indicateurs GMF et DPU</a:t>
            </a:r>
          </a:p>
        </p:txBody>
      </p:sp>
      <p:sp>
        <p:nvSpPr>
          <p:cNvPr id="119" name="ZoneTexte 65">
            <a:extLst>
              <a:ext uri="{FF2B5EF4-FFF2-40B4-BE49-F238E27FC236}">
                <a16:creationId xmlns:a16="http://schemas.microsoft.com/office/drawing/2014/main" id="{A4DCBA6A-C416-42A6-AD93-A8B94E0AF59C}"/>
              </a:ext>
            </a:extLst>
          </p:cNvPr>
          <p:cNvSpPr txBox="1"/>
          <p:nvPr/>
        </p:nvSpPr>
        <p:spPr>
          <a:xfrm>
            <a:off x="86773" y="1279922"/>
            <a:ext cx="3939959"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b="1" dirty="0">
                <a:solidFill>
                  <a:srgbClr val="000000"/>
                </a:solidFill>
                <a:latin typeface="Lato  "/>
              </a:rPr>
              <a:t>1- Chronométrage  de  temps de retouche</a:t>
            </a:r>
          </a:p>
        </p:txBody>
      </p:sp>
      <p:cxnSp>
        <p:nvCxnSpPr>
          <p:cNvPr id="120" name="Connecteur droit 58">
            <a:extLst>
              <a:ext uri="{FF2B5EF4-FFF2-40B4-BE49-F238E27FC236}">
                <a16:creationId xmlns:a16="http://schemas.microsoft.com/office/drawing/2014/main" id="{0328B320-282F-4917-9BF5-1259CF61A73F}"/>
              </a:ext>
            </a:extLst>
          </p:cNvPr>
          <p:cNvCxnSpPr>
            <a:cxnSpLocks/>
          </p:cNvCxnSpPr>
          <p:nvPr/>
        </p:nvCxnSpPr>
        <p:spPr>
          <a:xfrm>
            <a:off x="8218265" y="397350"/>
            <a:ext cx="1101223" cy="546"/>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366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1000"/>
                                        <p:tgtEl>
                                          <p:spTgt spid="107"/>
                                        </p:tgtEl>
                                      </p:cBhvr>
                                    </p:animEffect>
                                  </p:childTnLst>
                                </p:cTn>
                              </p:par>
                              <p:par>
                                <p:cTn id="8" presetID="10" presetClass="entr" presetSubtype="0" fill="hold" nodeType="withEffect">
                                  <p:stCondLst>
                                    <p:cond delay="0"/>
                                  </p:stCondLst>
                                  <p:childTnLst>
                                    <p:set>
                                      <p:cBhvr>
                                        <p:cTn id="9" dur="1" fill="hold">
                                          <p:stCondLst>
                                            <p:cond delay="0"/>
                                          </p:stCondLst>
                                        </p:cTn>
                                        <p:tgtEl>
                                          <p:spTgt spid="105"/>
                                        </p:tgtEl>
                                        <p:attrNameLst>
                                          <p:attrName>style.visibility</p:attrName>
                                        </p:attrNameLst>
                                      </p:cBhvr>
                                      <p:to>
                                        <p:strVal val="visible"/>
                                      </p:to>
                                    </p:set>
                                    <p:animEffect transition="in" filter="fade">
                                      <p:cBhvr>
                                        <p:cTn id="10" dur="1000"/>
                                        <p:tgtEl>
                                          <p:spTgt spid="105"/>
                                        </p:tgtEl>
                                      </p:cBhvr>
                                    </p:animEffect>
                                  </p:childTnLst>
                                </p:cTn>
                              </p:par>
                              <p:par>
                                <p:cTn id="11" presetID="42" presetClass="path" presetSubtype="0" accel="50000" decel="50000" fill="hold" nodeType="withEffect">
                                  <p:stCondLst>
                                    <p:cond delay="0"/>
                                  </p:stCondLst>
                                  <p:childTnLst>
                                    <p:animMotion origin="layout" path="M 0.06693 -0.00162 L 0.93854 -0.00232 " pathEditMode="relative" rAng="0" ptsTypes="AA">
                                      <p:cBhvr>
                                        <p:cTn id="12" dur="2250" fill="hold"/>
                                        <p:tgtEl>
                                          <p:spTgt spid="106"/>
                                        </p:tgtEl>
                                        <p:attrNameLst>
                                          <p:attrName>ppt_x</p:attrName>
                                          <p:attrName>ppt_y</p:attrName>
                                        </p:attrNameLst>
                                      </p:cBhvr>
                                      <p:rCtr x="43581" y="-46"/>
                                    </p:animMotion>
                                  </p:childTnLst>
                                </p:cTn>
                              </p:par>
                              <p:par>
                                <p:cTn id="13" presetID="42" presetClass="path" presetSubtype="0" accel="50000" decel="50000" fill="hold" nodeType="withEffect">
                                  <p:stCondLst>
                                    <p:cond delay="0"/>
                                  </p:stCondLst>
                                  <p:childTnLst>
                                    <p:animMotion origin="layout" path="M -0.00912 -0.03033 L 0.96133 -0.00672 " pathEditMode="relative" rAng="0" ptsTypes="AA">
                                      <p:cBhvr>
                                        <p:cTn id="14" dur="2250" fill="hold"/>
                                        <p:tgtEl>
                                          <p:spTgt spid="109"/>
                                        </p:tgtEl>
                                        <p:attrNameLst>
                                          <p:attrName>ppt_x</p:attrName>
                                          <p:attrName>ppt_y</p:attrName>
                                        </p:attrNameLst>
                                      </p:cBhvr>
                                      <p:rCtr x="48516" y="1181"/>
                                    </p:animMotion>
                                  </p:childTnLst>
                                </p:cTn>
                              </p:par>
                            </p:childTnLst>
                          </p:cTn>
                        </p:par>
                        <p:par>
                          <p:cTn id="15" fill="hold">
                            <p:stCondLst>
                              <p:cond delay="2250"/>
                            </p:stCondLst>
                            <p:childTnLst>
                              <p:par>
                                <p:cTn id="16" presetID="42" presetClass="path" presetSubtype="0" accel="50000" decel="50000" fill="hold" nodeType="afterEffect">
                                  <p:stCondLst>
                                    <p:cond delay="0"/>
                                  </p:stCondLst>
                                  <p:childTnLst>
                                    <p:animMotion origin="layout" path="M -0.00625 -0.02824 L 0.96406 -0.00672 " pathEditMode="relative" rAng="0" ptsTypes="AA">
                                      <p:cBhvr>
                                        <p:cTn id="17" dur="1750" fill="hold"/>
                                        <p:tgtEl>
                                          <p:spTgt spid="110"/>
                                        </p:tgtEl>
                                        <p:attrNameLst>
                                          <p:attrName>ppt_x</p:attrName>
                                          <p:attrName>ppt_y</p:attrName>
                                        </p:attrNameLst>
                                      </p:cBhvr>
                                      <p:rCtr x="48516" y="1065"/>
                                    </p:animMotion>
                                  </p:childTnLst>
                                </p:cTn>
                              </p:par>
                            </p:childTnLst>
                          </p:cTn>
                        </p:par>
                      </p:childTnLst>
                    </p:cTn>
                  </p:par>
                  <p:par>
                    <p:cTn id="18" fill="hold">
                      <p:stCondLst>
                        <p:cond delay="indefinite"/>
                      </p:stCondLst>
                      <p:childTnLst>
                        <p:par>
                          <p:cTn id="19" fill="hold">
                            <p:stCondLst>
                              <p:cond delay="0"/>
                            </p:stCondLst>
                            <p:childTnLst>
                              <p:par>
                                <p:cTn id="20" presetID="53" presetClass="entr" presetSubtype="16" fill="hold" nodeType="click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p:cTn id="22" dur="500" fill="hold"/>
                                        <p:tgtEl>
                                          <p:spTgt spid="22"/>
                                        </p:tgtEl>
                                        <p:attrNameLst>
                                          <p:attrName>ppt_w</p:attrName>
                                        </p:attrNameLst>
                                      </p:cBhvr>
                                      <p:tavLst>
                                        <p:tav tm="0">
                                          <p:val>
                                            <p:fltVal val="0"/>
                                          </p:val>
                                        </p:tav>
                                        <p:tav tm="100000">
                                          <p:val>
                                            <p:strVal val="#ppt_w"/>
                                          </p:val>
                                        </p:tav>
                                      </p:tavLst>
                                    </p:anim>
                                    <p:anim calcmode="lin" valueType="num">
                                      <p:cBhvr>
                                        <p:cTn id="23" dur="500" fill="hold"/>
                                        <p:tgtEl>
                                          <p:spTgt spid="22"/>
                                        </p:tgtEl>
                                        <p:attrNameLst>
                                          <p:attrName>ppt_h</p:attrName>
                                        </p:attrNameLst>
                                      </p:cBhvr>
                                      <p:tavLst>
                                        <p:tav tm="0">
                                          <p:val>
                                            <p:fltVal val="0"/>
                                          </p:val>
                                        </p:tav>
                                        <p:tav tm="100000">
                                          <p:val>
                                            <p:strVal val="#ppt_h"/>
                                          </p:val>
                                        </p:tav>
                                      </p:tavLst>
                                    </p:anim>
                                    <p:animEffect transition="in" filter="fade">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53" presetClass="entr" presetSubtype="16" fill="hold" nodeType="clickEffect">
                                  <p:stCondLst>
                                    <p:cond delay="0"/>
                                  </p:stCondLst>
                                  <p:childTnLst>
                                    <p:set>
                                      <p:cBhvr>
                                        <p:cTn id="28" dur="1" fill="hold">
                                          <p:stCondLst>
                                            <p:cond delay="0"/>
                                          </p:stCondLst>
                                        </p:cTn>
                                        <p:tgtEl>
                                          <p:spTgt spid="4"/>
                                        </p:tgtEl>
                                        <p:attrNameLst>
                                          <p:attrName>style.visibility</p:attrName>
                                        </p:attrNameLst>
                                      </p:cBhvr>
                                      <p:to>
                                        <p:strVal val="visible"/>
                                      </p:to>
                                    </p:set>
                                    <p:anim calcmode="lin" valueType="num">
                                      <p:cBhvr>
                                        <p:cTn id="29" dur="500" fill="hold"/>
                                        <p:tgtEl>
                                          <p:spTgt spid="4"/>
                                        </p:tgtEl>
                                        <p:attrNameLst>
                                          <p:attrName>ppt_w</p:attrName>
                                        </p:attrNameLst>
                                      </p:cBhvr>
                                      <p:tavLst>
                                        <p:tav tm="0">
                                          <p:val>
                                            <p:fltVal val="0"/>
                                          </p:val>
                                        </p:tav>
                                        <p:tav tm="100000">
                                          <p:val>
                                            <p:strVal val="#ppt_w"/>
                                          </p:val>
                                        </p:tav>
                                      </p:tavLst>
                                    </p:anim>
                                    <p:anim calcmode="lin" valueType="num">
                                      <p:cBhvr>
                                        <p:cTn id="30" dur="500" fill="hold"/>
                                        <p:tgtEl>
                                          <p:spTgt spid="4"/>
                                        </p:tgtEl>
                                        <p:attrNameLst>
                                          <p:attrName>ppt_h</p:attrName>
                                        </p:attrNameLst>
                                      </p:cBhvr>
                                      <p:tavLst>
                                        <p:tav tm="0">
                                          <p:val>
                                            <p:fltVal val="0"/>
                                          </p:val>
                                        </p:tav>
                                        <p:tav tm="100000">
                                          <p:val>
                                            <p:strVal val="#ppt_h"/>
                                          </p:val>
                                        </p:tav>
                                      </p:tavLst>
                                    </p:anim>
                                    <p:animEffect transition="in" filter="fade">
                                      <p:cBhvr>
                                        <p:cTn id="31" dur="500"/>
                                        <p:tgtEl>
                                          <p:spTgt spid="4"/>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24"/>
                                        </p:tgtEl>
                                        <p:attrNameLst>
                                          <p:attrName>style.visibility</p:attrName>
                                        </p:attrNameLst>
                                      </p:cBhvr>
                                      <p:to>
                                        <p:strVal val="visible"/>
                                      </p:to>
                                    </p:set>
                                    <p:anim calcmode="lin" valueType="num">
                                      <p:cBhvr>
                                        <p:cTn id="36" dur="500" fill="hold"/>
                                        <p:tgtEl>
                                          <p:spTgt spid="24"/>
                                        </p:tgtEl>
                                        <p:attrNameLst>
                                          <p:attrName>ppt_w</p:attrName>
                                        </p:attrNameLst>
                                      </p:cBhvr>
                                      <p:tavLst>
                                        <p:tav tm="0">
                                          <p:val>
                                            <p:fltVal val="0"/>
                                          </p:val>
                                        </p:tav>
                                        <p:tav tm="100000">
                                          <p:val>
                                            <p:strVal val="#ppt_w"/>
                                          </p:val>
                                        </p:tav>
                                      </p:tavLst>
                                    </p:anim>
                                    <p:anim calcmode="lin" valueType="num">
                                      <p:cBhvr>
                                        <p:cTn id="37" dur="500" fill="hold"/>
                                        <p:tgtEl>
                                          <p:spTgt spid="24"/>
                                        </p:tgtEl>
                                        <p:attrNameLst>
                                          <p:attrName>ppt_h</p:attrName>
                                        </p:attrNameLst>
                                      </p:cBhvr>
                                      <p:tavLst>
                                        <p:tav tm="0">
                                          <p:val>
                                            <p:fltVal val="0"/>
                                          </p:val>
                                        </p:tav>
                                        <p:tav tm="100000">
                                          <p:val>
                                            <p:strVal val="#ppt_h"/>
                                          </p:val>
                                        </p:tav>
                                      </p:tavLst>
                                    </p:anim>
                                    <p:animEffect transition="in" filter="fade">
                                      <p:cBhvr>
                                        <p:cTn id="38" dur="500"/>
                                        <p:tgtEl>
                                          <p:spTgt spid="24"/>
                                        </p:tgtEl>
                                      </p:cBhvr>
                                    </p:animEffect>
                                  </p:childTnLst>
                                </p:cTn>
                              </p:par>
                            </p:childTnLst>
                          </p:cTn>
                        </p:par>
                        <p:par>
                          <p:cTn id="39" fill="hold">
                            <p:stCondLst>
                              <p:cond delay="500"/>
                            </p:stCondLst>
                            <p:childTnLst>
                              <p:par>
                                <p:cTn id="40" presetID="53" presetClass="entr" presetSubtype="16" fill="hold" nodeType="afterEffect">
                                  <p:stCondLst>
                                    <p:cond delay="0"/>
                                  </p:stCondLst>
                                  <p:childTnLst>
                                    <p:set>
                                      <p:cBhvr>
                                        <p:cTn id="41" dur="1" fill="hold">
                                          <p:stCondLst>
                                            <p:cond delay="0"/>
                                          </p:stCondLst>
                                        </p:cTn>
                                        <p:tgtEl>
                                          <p:spTgt spid="108"/>
                                        </p:tgtEl>
                                        <p:attrNameLst>
                                          <p:attrName>style.visibility</p:attrName>
                                        </p:attrNameLst>
                                      </p:cBhvr>
                                      <p:to>
                                        <p:strVal val="visible"/>
                                      </p:to>
                                    </p:set>
                                    <p:anim calcmode="lin" valueType="num">
                                      <p:cBhvr>
                                        <p:cTn id="42" dur="1000" fill="hold"/>
                                        <p:tgtEl>
                                          <p:spTgt spid="108"/>
                                        </p:tgtEl>
                                        <p:attrNameLst>
                                          <p:attrName>ppt_w</p:attrName>
                                        </p:attrNameLst>
                                      </p:cBhvr>
                                      <p:tavLst>
                                        <p:tav tm="0">
                                          <p:val>
                                            <p:fltVal val="0"/>
                                          </p:val>
                                        </p:tav>
                                        <p:tav tm="100000">
                                          <p:val>
                                            <p:strVal val="#ppt_w"/>
                                          </p:val>
                                        </p:tav>
                                      </p:tavLst>
                                    </p:anim>
                                    <p:anim calcmode="lin" valueType="num">
                                      <p:cBhvr>
                                        <p:cTn id="43" dur="1000" fill="hold"/>
                                        <p:tgtEl>
                                          <p:spTgt spid="108"/>
                                        </p:tgtEl>
                                        <p:attrNameLst>
                                          <p:attrName>ppt_h</p:attrName>
                                        </p:attrNameLst>
                                      </p:cBhvr>
                                      <p:tavLst>
                                        <p:tav tm="0">
                                          <p:val>
                                            <p:fltVal val="0"/>
                                          </p:val>
                                        </p:tav>
                                        <p:tav tm="100000">
                                          <p:val>
                                            <p:strVal val="#ppt_h"/>
                                          </p:val>
                                        </p:tav>
                                      </p:tavLst>
                                    </p:anim>
                                    <p:animEffect transition="in" filter="fade">
                                      <p:cBhvr>
                                        <p:cTn id="44" dur="10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e 11"/>
          <p:cNvGrpSpPr/>
          <p:nvPr/>
        </p:nvGrpSpPr>
        <p:grpSpPr>
          <a:xfrm>
            <a:off x="1281346" y="779704"/>
            <a:ext cx="1308010" cy="400110"/>
            <a:chOff x="2037715" y="892654"/>
            <a:chExt cx="1127024" cy="400110"/>
          </a:xfrm>
        </p:grpSpPr>
        <p:sp>
          <p:nvSpPr>
            <p:cNvPr id="44" name="ZoneTexte 43"/>
            <p:cNvSpPr txBox="1"/>
            <p:nvPr/>
          </p:nvSpPr>
          <p:spPr>
            <a:xfrm>
              <a:off x="2037715" y="892654"/>
              <a:ext cx="1127024"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Définir</a:t>
              </a:r>
            </a:p>
          </p:txBody>
        </p:sp>
        <p:cxnSp>
          <p:nvCxnSpPr>
            <p:cNvPr id="55" name="Connecteur droit 54"/>
            <p:cNvCxnSpPr/>
            <p:nvPr/>
          </p:nvCxnSpPr>
          <p:spPr>
            <a:xfrm>
              <a:off x="2264795" y="1282860"/>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3" name="Groupe 12"/>
          <p:cNvGrpSpPr/>
          <p:nvPr/>
        </p:nvGrpSpPr>
        <p:grpSpPr>
          <a:xfrm>
            <a:off x="3203343" y="779704"/>
            <a:ext cx="1440667" cy="400110"/>
            <a:chOff x="3959712" y="892654"/>
            <a:chExt cx="1241325" cy="400110"/>
          </a:xfrm>
        </p:grpSpPr>
        <p:sp>
          <p:nvSpPr>
            <p:cNvPr id="47" name="ZoneTexte 46"/>
            <p:cNvSpPr txBox="1"/>
            <p:nvPr/>
          </p:nvSpPr>
          <p:spPr>
            <a:xfrm>
              <a:off x="3959712" y="892654"/>
              <a:ext cx="1241325"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b="1" dirty="0">
                  <a:latin typeface="Lato  "/>
                </a:rPr>
                <a:t>Mesurer</a:t>
              </a:r>
            </a:p>
          </p:txBody>
        </p:sp>
        <p:cxnSp>
          <p:nvCxnSpPr>
            <p:cNvPr id="56" name="Connecteur droit 55"/>
            <p:cNvCxnSpPr/>
            <p:nvPr/>
          </p:nvCxnSpPr>
          <p:spPr>
            <a:xfrm>
              <a:off x="4176722" y="1282860"/>
              <a:ext cx="540001" cy="0"/>
            </a:xfrm>
            <a:prstGeom prst="line">
              <a:avLst/>
            </a:prstGeom>
            <a:ln w="28575">
              <a:solidFill>
                <a:srgbClr val="EE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5" name="Groupe 14"/>
          <p:cNvGrpSpPr/>
          <p:nvPr/>
        </p:nvGrpSpPr>
        <p:grpSpPr>
          <a:xfrm>
            <a:off x="5099616" y="779704"/>
            <a:ext cx="1440667" cy="400110"/>
            <a:chOff x="5855985" y="892654"/>
            <a:chExt cx="1241325" cy="400110"/>
          </a:xfrm>
        </p:grpSpPr>
        <p:sp>
          <p:nvSpPr>
            <p:cNvPr id="49" name="ZoneTexte 48"/>
            <p:cNvSpPr txBox="1"/>
            <p:nvPr/>
          </p:nvSpPr>
          <p:spPr>
            <a:xfrm>
              <a:off x="5855985" y="892654"/>
              <a:ext cx="1241325"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Analyser</a:t>
              </a:r>
            </a:p>
          </p:txBody>
        </p:sp>
        <p:cxnSp>
          <p:nvCxnSpPr>
            <p:cNvPr id="58" name="Connecteur droit 57"/>
            <p:cNvCxnSpPr/>
            <p:nvPr/>
          </p:nvCxnSpPr>
          <p:spPr>
            <a:xfrm>
              <a:off x="6047085"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Groupe 15"/>
          <p:cNvGrpSpPr/>
          <p:nvPr/>
        </p:nvGrpSpPr>
        <p:grpSpPr>
          <a:xfrm>
            <a:off x="7135914" y="779704"/>
            <a:ext cx="1561262" cy="400110"/>
            <a:chOff x="7892283" y="892654"/>
            <a:chExt cx="1345234" cy="400110"/>
          </a:xfrm>
        </p:grpSpPr>
        <p:sp>
          <p:nvSpPr>
            <p:cNvPr id="51" name="ZoneTexte 50"/>
            <p:cNvSpPr txBox="1"/>
            <p:nvPr/>
          </p:nvSpPr>
          <p:spPr>
            <a:xfrm>
              <a:off x="7892283" y="892654"/>
              <a:ext cx="1345234"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Améliorer</a:t>
              </a:r>
            </a:p>
          </p:txBody>
        </p:sp>
        <p:cxnSp>
          <p:nvCxnSpPr>
            <p:cNvPr id="60" name="Connecteur droit 59"/>
            <p:cNvCxnSpPr/>
            <p:nvPr/>
          </p:nvCxnSpPr>
          <p:spPr>
            <a:xfrm>
              <a:off x="8083704"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7" name="Groupe 56"/>
          <p:cNvGrpSpPr/>
          <p:nvPr/>
        </p:nvGrpSpPr>
        <p:grpSpPr>
          <a:xfrm>
            <a:off x="9151749" y="779704"/>
            <a:ext cx="1464786" cy="400110"/>
            <a:chOff x="9908118" y="892654"/>
            <a:chExt cx="1262107" cy="400110"/>
          </a:xfrm>
        </p:grpSpPr>
        <p:sp>
          <p:nvSpPr>
            <p:cNvPr id="53" name="ZoneTexte 52"/>
            <p:cNvSpPr txBox="1"/>
            <p:nvPr/>
          </p:nvSpPr>
          <p:spPr>
            <a:xfrm>
              <a:off x="9908118" y="892654"/>
              <a:ext cx="1262107"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Contrôler</a:t>
              </a:r>
            </a:p>
          </p:txBody>
        </p:sp>
        <p:cxnSp>
          <p:nvCxnSpPr>
            <p:cNvPr id="62" name="Connecteur droit 61"/>
            <p:cNvCxnSpPr/>
            <p:nvPr/>
          </p:nvCxnSpPr>
          <p:spPr>
            <a:xfrm>
              <a:off x="10089149"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9" name="Rectangle 58"/>
          <p:cNvSpPr/>
          <p:nvPr/>
        </p:nvSpPr>
        <p:spPr>
          <a:xfrm rot="10800000">
            <a:off x="144038" y="6315373"/>
            <a:ext cx="412293" cy="338554"/>
          </a:xfrm>
          <a:prstGeom prst="rect">
            <a:avLst/>
          </a:prstGeom>
        </p:spPr>
        <p:txBody>
          <a:bodyPr wrap="none">
            <a:spAutoFit/>
          </a:bodyPr>
          <a:lstStyle>
            <a:defPPr>
              <a:defRPr lang="en-US"/>
            </a:defPPr>
            <a:lvl1pPr marL="0" algn="l" defTabSz="914340" rtl="0" eaLnBrk="1" latinLnBrk="0" hangingPunct="1">
              <a:defRPr sz="1800" kern="1200">
                <a:solidFill>
                  <a:schemeClr val="tx1"/>
                </a:solidFill>
                <a:latin typeface="+mn-lt"/>
                <a:ea typeface="+mn-ea"/>
                <a:cs typeface="+mn-cs"/>
              </a:defRPr>
            </a:lvl1pPr>
            <a:lvl2pPr marL="457170"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1" algn="l" defTabSz="914340" rtl="0" eaLnBrk="1" latinLnBrk="0" hangingPunct="1">
              <a:defRPr sz="1800" kern="1200">
                <a:solidFill>
                  <a:schemeClr val="tx1"/>
                </a:solidFill>
                <a:latin typeface="+mn-lt"/>
                <a:ea typeface="+mn-ea"/>
                <a:cs typeface="+mn-cs"/>
              </a:defRPr>
            </a:lvl7pPr>
            <a:lvl8pPr marL="3200193"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a:lstStyle>
          <a:p>
            <a:pPr algn="ctr"/>
            <a:r>
              <a:rPr lang="en-AU" sz="1600" dirty="0">
                <a:solidFill>
                  <a:schemeClr val="bg1"/>
                </a:solidFill>
                <a:latin typeface="Lato"/>
              </a:rPr>
              <a:t>15</a:t>
            </a:r>
          </a:p>
        </p:txBody>
      </p:sp>
      <p:sp>
        <p:nvSpPr>
          <p:cNvPr id="2" name="Espace réservé du numéro de diapositive 1"/>
          <p:cNvSpPr>
            <a:spLocks noGrp="1"/>
          </p:cNvSpPr>
          <p:nvPr>
            <p:ph type="sldNum" sz="quarter" idx="12"/>
          </p:nvPr>
        </p:nvSpPr>
        <p:spPr>
          <a:xfrm>
            <a:off x="9334421" y="6288241"/>
            <a:ext cx="2743200" cy="365125"/>
          </a:xfrm>
        </p:spPr>
        <p:txBody>
          <a:bodyPr vert="horz" lIns="91440" tIns="45720" rIns="91440" bIns="45720" rtlCol="0" anchor="ctr"/>
          <a:lstStyle/>
          <a:p>
            <a:fld id="{6130CD27-AFE4-4E20-B740-5A2305B4E48B}" type="slidenum">
              <a:rPr lang="fr-FR" sz="1600">
                <a:solidFill>
                  <a:schemeClr val="bg1"/>
                </a:solidFill>
                <a:latin typeface="Lato"/>
              </a:rPr>
              <a:pPr/>
              <a:t>17</a:t>
            </a:fld>
            <a:endParaRPr lang="fr-FR" sz="1600" dirty="0">
              <a:solidFill>
                <a:schemeClr val="bg1"/>
              </a:solidFill>
              <a:latin typeface="Lato"/>
            </a:endParaRPr>
          </a:p>
        </p:txBody>
      </p:sp>
      <p:sp>
        <p:nvSpPr>
          <p:cNvPr id="78" name="ZoneTexte 53">
            <a:extLst>
              <a:ext uri="{FF2B5EF4-FFF2-40B4-BE49-F238E27FC236}">
                <a16:creationId xmlns:a16="http://schemas.microsoft.com/office/drawing/2014/main" id="{6F4450BA-9AAA-4FEE-B3C6-7629ACE48039}"/>
              </a:ext>
            </a:extLst>
          </p:cNvPr>
          <p:cNvSpPr txBox="1"/>
          <p:nvPr/>
        </p:nvSpPr>
        <p:spPr>
          <a:xfrm>
            <a:off x="390860" y="74183"/>
            <a:ext cx="1821107"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Environnement </a:t>
            </a:r>
          </a:p>
          <a:p>
            <a:r>
              <a:rPr lang="it-IT" dirty="0"/>
              <a:t>du projet</a:t>
            </a:r>
            <a:endParaRPr lang="fr-FR" dirty="0"/>
          </a:p>
        </p:txBody>
      </p:sp>
      <p:sp>
        <p:nvSpPr>
          <p:cNvPr id="91" name="ZoneTexte 54">
            <a:extLst>
              <a:ext uri="{FF2B5EF4-FFF2-40B4-BE49-F238E27FC236}">
                <a16:creationId xmlns:a16="http://schemas.microsoft.com/office/drawing/2014/main" id="{B24A9C8C-AE54-436E-9627-3001171037C2}"/>
              </a:ext>
            </a:extLst>
          </p:cNvPr>
          <p:cNvSpPr txBox="1"/>
          <p:nvPr/>
        </p:nvSpPr>
        <p:spPr>
          <a:xfrm>
            <a:off x="6433678" y="74184"/>
            <a:ext cx="1784587" cy="646331"/>
          </a:xfrm>
          <a:prstGeom prst="rect">
            <a:avLst/>
          </a:prstGeom>
          <a:solidFill>
            <a:srgbClr val="020088"/>
          </a:solidFill>
        </p:spPr>
        <p:txBody>
          <a:bodyPr wrap="square" rtlCol="0">
            <a:spAutoFit/>
          </a:bodyPr>
          <a:lstStyle>
            <a:defPPr>
              <a:defRPr lang="fr-FR"/>
            </a:defPPr>
            <a:lvl1pPr algn="ctr">
              <a:defRPr>
                <a:solidFill>
                  <a:schemeClr val="bg1"/>
                </a:solidFill>
                <a:latin typeface="Lato  "/>
              </a:defRPr>
            </a:lvl1pPr>
          </a:lstStyle>
          <a:p>
            <a:r>
              <a:rPr lang="it-IT" dirty="0"/>
              <a:t>Mise en oeuvre du projet</a:t>
            </a:r>
            <a:endParaRPr lang="fr-FR" dirty="0"/>
          </a:p>
        </p:txBody>
      </p:sp>
      <p:sp>
        <p:nvSpPr>
          <p:cNvPr id="92" name="ZoneTexte 55">
            <a:extLst>
              <a:ext uri="{FF2B5EF4-FFF2-40B4-BE49-F238E27FC236}">
                <a16:creationId xmlns:a16="http://schemas.microsoft.com/office/drawing/2014/main" id="{37F626EB-7569-4651-A107-92056F5647D1}"/>
              </a:ext>
            </a:extLst>
          </p:cNvPr>
          <p:cNvSpPr txBox="1"/>
          <p:nvPr/>
        </p:nvSpPr>
        <p:spPr>
          <a:xfrm>
            <a:off x="9319488" y="74730"/>
            <a:ext cx="1752879" cy="646331"/>
          </a:xfrm>
          <a:prstGeom prst="rect">
            <a:avLst/>
          </a:prstGeom>
          <a:solidFill>
            <a:schemeClr val="bg2"/>
          </a:solidFill>
        </p:spPr>
        <p:txBody>
          <a:bodyPr wrap="square" rtlCol="0">
            <a:spAutoFit/>
          </a:bodyPr>
          <a:lstStyle/>
          <a:p>
            <a:pPr algn="ctr"/>
            <a:r>
              <a:rPr lang="it-IT" dirty="0">
                <a:latin typeface="Lato  "/>
              </a:rPr>
              <a:t>Conclusion et</a:t>
            </a:r>
          </a:p>
          <a:p>
            <a:pPr algn="ctr"/>
            <a:r>
              <a:rPr lang="it-IT" dirty="0">
                <a:latin typeface="Lato  "/>
              </a:rPr>
              <a:t> Perspectives</a:t>
            </a:r>
            <a:endParaRPr lang="fr-FR" dirty="0">
              <a:latin typeface="Lato  "/>
            </a:endParaRPr>
          </a:p>
        </p:txBody>
      </p:sp>
      <p:cxnSp>
        <p:nvCxnSpPr>
          <p:cNvPr id="93" name="Connecteur droit 56">
            <a:extLst>
              <a:ext uri="{FF2B5EF4-FFF2-40B4-BE49-F238E27FC236}">
                <a16:creationId xmlns:a16="http://schemas.microsoft.com/office/drawing/2014/main" id="{C56F36DF-7BA7-4C08-8F04-CE88255FEA0F}"/>
              </a:ext>
            </a:extLst>
          </p:cNvPr>
          <p:cNvCxnSpPr>
            <a:cxnSpLocks/>
          </p:cNvCxnSpPr>
          <p:nvPr/>
        </p:nvCxnSpPr>
        <p:spPr>
          <a:xfrm>
            <a:off x="11077903" y="410171"/>
            <a:ext cx="793875"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94" name="Connecteur droit 57">
            <a:extLst>
              <a:ext uri="{FF2B5EF4-FFF2-40B4-BE49-F238E27FC236}">
                <a16:creationId xmlns:a16="http://schemas.microsoft.com/office/drawing/2014/main" id="{3ECE51A5-C702-40C3-A387-7D101E5CC9DC}"/>
              </a:ext>
            </a:extLst>
          </p:cNvPr>
          <p:cNvCxnSpPr>
            <a:cxnSpLocks/>
            <a:stCxn id="78" idx="3"/>
            <a:endCxn id="100" idx="1"/>
          </p:cNvCxnSpPr>
          <p:nvPr/>
        </p:nvCxnSpPr>
        <p:spPr>
          <a:xfrm>
            <a:off x="2211967" y="397349"/>
            <a:ext cx="1101223"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95" name="Connecteur droit 58">
            <a:extLst>
              <a:ext uri="{FF2B5EF4-FFF2-40B4-BE49-F238E27FC236}">
                <a16:creationId xmlns:a16="http://schemas.microsoft.com/office/drawing/2014/main" id="{4BB2F680-0AB5-4D3E-BD93-5FD34EA7EB6A}"/>
              </a:ext>
            </a:extLst>
          </p:cNvPr>
          <p:cNvCxnSpPr>
            <a:cxnSpLocks/>
            <a:stCxn id="91" idx="3"/>
            <a:endCxn id="92" idx="1"/>
          </p:cNvCxnSpPr>
          <p:nvPr/>
        </p:nvCxnSpPr>
        <p:spPr>
          <a:xfrm>
            <a:off x="8218265" y="397350"/>
            <a:ext cx="1101223" cy="546"/>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96" name="Group 3">
            <a:extLst>
              <a:ext uri="{FF2B5EF4-FFF2-40B4-BE49-F238E27FC236}">
                <a16:creationId xmlns:a16="http://schemas.microsoft.com/office/drawing/2014/main" id="{899FC0A3-EEE0-4D32-9FA3-D69351D7C30B}"/>
              </a:ext>
            </a:extLst>
          </p:cNvPr>
          <p:cNvGrpSpPr/>
          <p:nvPr/>
        </p:nvGrpSpPr>
        <p:grpSpPr>
          <a:xfrm rot="10800000">
            <a:off x="11632841" y="410171"/>
            <a:ext cx="504000" cy="6352766"/>
            <a:chOff x="-5771165" y="1295207"/>
            <a:chExt cx="504000" cy="6352766"/>
          </a:xfrm>
          <a:solidFill>
            <a:srgbClr val="020088"/>
          </a:solidFill>
        </p:grpSpPr>
        <p:cxnSp>
          <p:nvCxnSpPr>
            <p:cNvPr id="97" name="Straight Connector 9">
              <a:extLst>
                <a:ext uri="{FF2B5EF4-FFF2-40B4-BE49-F238E27FC236}">
                  <a16:creationId xmlns:a16="http://schemas.microsoft.com/office/drawing/2014/main" id="{3E3BED29-644E-48B5-AFCB-042B8EE42DC8}"/>
                </a:ext>
              </a:extLst>
            </p:cNvPr>
            <p:cNvCxnSpPr>
              <a:cxnSpLocks/>
            </p:cNvCxnSpPr>
            <p:nvPr/>
          </p:nvCxnSpPr>
          <p:spPr>
            <a:xfrm rot="10800000" flipV="1">
              <a:off x="-5506102" y="1610316"/>
              <a:ext cx="0" cy="6037657"/>
            </a:xfrm>
            <a:prstGeom prst="line">
              <a:avLst/>
            </a:prstGeom>
            <a:grpFill/>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98" name="Teardrop 38">
              <a:extLst>
                <a:ext uri="{FF2B5EF4-FFF2-40B4-BE49-F238E27FC236}">
                  <a16:creationId xmlns:a16="http://schemas.microsoft.com/office/drawing/2014/main" id="{1196F955-8D6C-41D6-9A31-AB2446601066}"/>
                </a:ext>
              </a:extLst>
            </p:cNvPr>
            <p:cNvSpPr/>
            <p:nvPr/>
          </p:nvSpPr>
          <p:spPr>
            <a:xfrm rot="8100000">
              <a:off x="-5771165" y="1295207"/>
              <a:ext cx="504000" cy="504000"/>
            </a:xfrm>
            <a:prstGeom prst="teardrop">
              <a:avLst>
                <a:gd name="adj" fmla="val 9891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dirty="0"/>
            </a:p>
          </p:txBody>
        </p:sp>
      </p:grpSp>
      <p:sp>
        <p:nvSpPr>
          <p:cNvPr id="99" name="Espace réservé du numéro de diapositive 1">
            <a:extLst>
              <a:ext uri="{FF2B5EF4-FFF2-40B4-BE49-F238E27FC236}">
                <a16:creationId xmlns:a16="http://schemas.microsoft.com/office/drawing/2014/main" id="{A1997D78-9A12-444B-A0B2-F4FD381E35A9}"/>
              </a:ext>
            </a:extLst>
          </p:cNvPr>
          <p:cNvSpPr txBox="1">
            <a:spLocks/>
          </p:cNvSpPr>
          <p:nvPr/>
        </p:nvSpPr>
        <p:spPr>
          <a:xfrm>
            <a:off x="9361851" y="6285851"/>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solidFill>
                <a:latin typeface="Lato"/>
              </a:rPr>
              <a:t>12</a:t>
            </a:r>
          </a:p>
        </p:txBody>
      </p:sp>
      <p:sp>
        <p:nvSpPr>
          <p:cNvPr id="100" name="ZoneTexte 54">
            <a:extLst>
              <a:ext uri="{FF2B5EF4-FFF2-40B4-BE49-F238E27FC236}">
                <a16:creationId xmlns:a16="http://schemas.microsoft.com/office/drawing/2014/main" id="{1EB769E5-B687-4117-8216-81780C7D7D11}"/>
              </a:ext>
            </a:extLst>
          </p:cNvPr>
          <p:cNvSpPr txBox="1"/>
          <p:nvPr/>
        </p:nvSpPr>
        <p:spPr>
          <a:xfrm>
            <a:off x="3313190" y="74184"/>
            <a:ext cx="2024481"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Contexte Général</a:t>
            </a:r>
          </a:p>
          <a:p>
            <a:r>
              <a:rPr lang="it-IT" dirty="0"/>
              <a:t> du projet</a:t>
            </a:r>
          </a:p>
        </p:txBody>
      </p:sp>
      <p:cxnSp>
        <p:nvCxnSpPr>
          <p:cNvPr id="101" name="Connecteur droit 57">
            <a:extLst>
              <a:ext uri="{FF2B5EF4-FFF2-40B4-BE49-F238E27FC236}">
                <a16:creationId xmlns:a16="http://schemas.microsoft.com/office/drawing/2014/main" id="{FD0AE152-642A-4463-8A8E-2BCD7B97F60B}"/>
              </a:ext>
            </a:extLst>
          </p:cNvPr>
          <p:cNvCxnSpPr>
            <a:cxnSpLocks/>
          </p:cNvCxnSpPr>
          <p:nvPr/>
        </p:nvCxnSpPr>
        <p:spPr>
          <a:xfrm>
            <a:off x="5337671" y="397350"/>
            <a:ext cx="1096007" cy="0"/>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52" name="ZoneTexte 64">
            <a:extLst>
              <a:ext uri="{FF2B5EF4-FFF2-40B4-BE49-F238E27FC236}">
                <a16:creationId xmlns:a16="http://schemas.microsoft.com/office/drawing/2014/main" id="{451251FE-92F0-4140-8A07-204E14EDF2F3}"/>
              </a:ext>
            </a:extLst>
          </p:cNvPr>
          <p:cNvSpPr txBox="1"/>
          <p:nvPr/>
        </p:nvSpPr>
        <p:spPr>
          <a:xfrm>
            <a:off x="144037" y="2010778"/>
            <a:ext cx="4604213"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b="1" dirty="0">
                <a:solidFill>
                  <a:srgbClr val="000000"/>
                </a:solidFill>
                <a:latin typeface="Lato  "/>
              </a:rPr>
              <a:t>2- Mesure des  indicateurs DPU et GMF</a:t>
            </a:r>
          </a:p>
        </p:txBody>
      </p:sp>
      <p:sp>
        <p:nvSpPr>
          <p:cNvPr id="54" name="ZoneTexte 65">
            <a:extLst>
              <a:ext uri="{FF2B5EF4-FFF2-40B4-BE49-F238E27FC236}">
                <a16:creationId xmlns:a16="http://schemas.microsoft.com/office/drawing/2014/main" id="{379112BA-51F3-4397-852F-1AD8C59F9D9E}"/>
              </a:ext>
            </a:extLst>
          </p:cNvPr>
          <p:cNvSpPr txBox="1"/>
          <p:nvPr/>
        </p:nvSpPr>
        <p:spPr>
          <a:xfrm>
            <a:off x="141961" y="1560117"/>
            <a:ext cx="3939959"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2">
                    <a:lumMod val="90000"/>
                  </a:schemeClr>
                </a:solidFill>
                <a:latin typeface="Lato  "/>
              </a:rPr>
              <a:t>1- Chronométrage  de  temps de retouche</a:t>
            </a:r>
          </a:p>
        </p:txBody>
      </p:sp>
      <p:graphicFrame>
        <p:nvGraphicFramePr>
          <p:cNvPr id="3" name="Table 2">
            <a:extLst>
              <a:ext uri="{FF2B5EF4-FFF2-40B4-BE49-F238E27FC236}">
                <a16:creationId xmlns:a16="http://schemas.microsoft.com/office/drawing/2014/main" id="{DBA474F0-6C45-49C1-9DDD-7EB80F467F2C}"/>
              </a:ext>
            </a:extLst>
          </p:cNvPr>
          <p:cNvGraphicFramePr>
            <a:graphicFrameLocks noGrp="1"/>
          </p:cNvGraphicFramePr>
          <p:nvPr/>
        </p:nvGraphicFramePr>
        <p:xfrm>
          <a:off x="899650" y="2721429"/>
          <a:ext cx="10395534" cy="3593945"/>
        </p:xfrm>
        <a:graphic>
          <a:graphicData uri="http://schemas.openxmlformats.org/drawingml/2006/table">
            <a:tbl>
              <a:tblPr firstRow="1" firstCol="1" bandRow="1"/>
              <a:tblGrid>
                <a:gridCol w="1212179">
                  <a:extLst>
                    <a:ext uri="{9D8B030D-6E8A-4147-A177-3AD203B41FA5}">
                      <a16:colId xmlns:a16="http://schemas.microsoft.com/office/drawing/2014/main" val="2526920248"/>
                    </a:ext>
                  </a:extLst>
                </a:gridCol>
                <a:gridCol w="892628">
                  <a:extLst>
                    <a:ext uri="{9D8B030D-6E8A-4147-A177-3AD203B41FA5}">
                      <a16:colId xmlns:a16="http://schemas.microsoft.com/office/drawing/2014/main" val="269790748"/>
                    </a:ext>
                  </a:extLst>
                </a:gridCol>
                <a:gridCol w="1013416">
                  <a:extLst>
                    <a:ext uri="{9D8B030D-6E8A-4147-A177-3AD203B41FA5}">
                      <a16:colId xmlns:a16="http://schemas.microsoft.com/office/drawing/2014/main" val="2281970553"/>
                    </a:ext>
                  </a:extLst>
                </a:gridCol>
                <a:gridCol w="838384">
                  <a:extLst>
                    <a:ext uri="{9D8B030D-6E8A-4147-A177-3AD203B41FA5}">
                      <a16:colId xmlns:a16="http://schemas.microsoft.com/office/drawing/2014/main" val="1930608742"/>
                    </a:ext>
                  </a:extLst>
                </a:gridCol>
                <a:gridCol w="782543">
                  <a:extLst>
                    <a:ext uri="{9D8B030D-6E8A-4147-A177-3AD203B41FA5}">
                      <a16:colId xmlns:a16="http://schemas.microsoft.com/office/drawing/2014/main" val="830931283"/>
                    </a:ext>
                  </a:extLst>
                </a:gridCol>
                <a:gridCol w="930345">
                  <a:extLst>
                    <a:ext uri="{9D8B030D-6E8A-4147-A177-3AD203B41FA5}">
                      <a16:colId xmlns:a16="http://schemas.microsoft.com/office/drawing/2014/main" val="3581691340"/>
                    </a:ext>
                  </a:extLst>
                </a:gridCol>
                <a:gridCol w="838384">
                  <a:extLst>
                    <a:ext uri="{9D8B030D-6E8A-4147-A177-3AD203B41FA5}">
                      <a16:colId xmlns:a16="http://schemas.microsoft.com/office/drawing/2014/main" val="776984194"/>
                    </a:ext>
                  </a:extLst>
                </a:gridCol>
                <a:gridCol w="944552">
                  <a:extLst>
                    <a:ext uri="{9D8B030D-6E8A-4147-A177-3AD203B41FA5}">
                      <a16:colId xmlns:a16="http://schemas.microsoft.com/office/drawing/2014/main" val="1198516609"/>
                    </a:ext>
                  </a:extLst>
                </a:gridCol>
                <a:gridCol w="838384">
                  <a:extLst>
                    <a:ext uri="{9D8B030D-6E8A-4147-A177-3AD203B41FA5}">
                      <a16:colId xmlns:a16="http://schemas.microsoft.com/office/drawing/2014/main" val="2328685551"/>
                    </a:ext>
                  </a:extLst>
                </a:gridCol>
                <a:gridCol w="1020072">
                  <a:extLst>
                    <a:ext uri="{9D8B030D-6E8A-4147-A177-3AD203B41FA5}">
                      <a16:colId xmlns:a16="http://schemas.microsoft.com/office/drawing/2014/main" val="1700510752"/>
                    </a:ext>
                  </a:extLst>
                </a:gridCol>
                <a:gridCol w="1084647">
                  <a:extLst>
                    <a:ext uri="{9D8B030D-6E8A-4147-A177-3AD203B41FA5}">
                      <a16:colId xmlns:a16="http://schemas.microsoft.com/office/drawing/2014/main" val="3535030608"/>
                    </a:ext>
                  </a:extLst>
                </a:gridCol>
              </a:tblGrid>
              <a:tr h="908232">
                <a:tc>
                  <a:txBody>
                    <a:bodyPr/>
                    <a:lstStyle/>
                    <a:p>
                      <a:pPr algn="l"/>
                      <a:endParaRPr lang="fr-FR" sz="1100">
                        <a:effectLst/>
                        <a:latin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Juil-18</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Août-18</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Sept-18</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Oct-18</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Nov- 18</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Déc-18</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Janv-19</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Févr-19</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Mars-19</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Moyenne</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extLst>
                  <a:ext uri="{0D108BD9-81ED-4DB2-BD59-A6C34878D82A}">
                    <a16:rowId xmlns:a16="http://schemas.microsoft.com/office/drawing/2014/main" val="4002454926"/>
                  </a:ext>
                </a:extLst>
              </a:tr>
              <a:tr h="595157">
                <a:tc>
                  <a:txBody>
                    <a:bodyPr/>
                    <a:lstStyle/>
                    <a:p>
                      <a:pPr algn="ctr">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DPU OFF usine</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2,38</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2,19</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2,06</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1,66</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1,52</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3,25</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3,17</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3,16</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2,01</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b="1" dirty="0">
                          <a:solidFill>
                            <a:schemeClr val="tx1"/>
                          </a:solidFill>
                          <a:effectLst/>
                          <a:latin typeface="Times New Roman" panose="02020603050405020304" pitchFamily="18" charset="0"/>
                          <a:ea typeface="Calibri" panose="020F0502020204030204" pitchFamily="34" charset="0"/>
                          <a:cs typeface="Arial" panose="020B0604020202020204" pitchFamily="34" charset="0"/>
                        </a:rPr>
                        <a:t>2,4</a:t>
                      </a:r>
                      <a:endParaRPr lang="fr-FR" sz="16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extLst>
                  <a:ext uri="{0D108BD9-81ED-4DB2-BD59-A6C34878D82A}">
                    <a16:rowId xmlns:a16="http://schemas.microsoft.com/office/drawing/2014/main" val="2680475933"/>
                  </a:ext>
                </a:extLst>
              </a:tr>
              <a:tr h="595157">
                <a:tc>
                  <a:txBody>
                    <a:bodyPr/>
                    <a:lstStyle/>
                    <a:p>
                      <a:pPr algn="ctr">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Production usine (Nv)</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15368</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2138</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12211</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15007</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15988</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14677</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11802</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12804</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14388</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12710</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extLst>
                  <a:ext uri="{0D108BD9-81ED-4DB2-BD59-A6C34878D82A}">
                    <a16:rowId xmlns:a16="http://schemas.microsoft.com/office/drawing/2014/main" val="1063998438"/>
                  </a:ext>
                </a:extLst>
              </a:tr>
              <a:tr h="900242">
                <a:tc>
                  <a:txBody>
                    <a:bodyPr/>
                    <a:lstStyle/>
                    <a:p>
                      <a:pPr algn="ctr">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Nombres des défauts(Nd)</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996</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400</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710</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800</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850</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780</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720</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991</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511</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751</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extLst>
                  <a:ext uri="{0D108BD9-81ED-4DB2-BD59-A6C34878D82A}">
                    <a16:rowId xmlns:a16="http://schemas.microsoft.com/office/drawing/2014/main" val="101459152"/>
                  </a:ext>
                </a:extLst>
              </a:tr>
              <a:tr h="595157">
                <a:tc>
                  <a:txBody>
                    <a:bodyPr/>
                    <a:lstStyle/>
                    <a:p>
                      <a:pPr algn="ctr">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DPU OFF Pb</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0,06</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0,19</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0,06</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0,05</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0,05</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0,05</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0,07</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0,08</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0,04</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fr-FR" sz="1600" b="1" dirty="0">
                          <a:solidFill>
                            <a:schemeClr val="tx1"/>
                          </a:solidFill>
                          <a:effectLst/>
                          <a:latin typeface="Times New Roman" panose="02020603050405020304" pitchFamily="18" charset="0"/>
                          <a:ea typeface="Calibri" panose="020F0502020204030204" pitchFamily="34" charset="0"/>
                          <a:cs typeface="Arial" panose="020B0604020202020204" pitchFamily="34" charset="0"/>
                        </a:rPr>
                        <a:t>0,072</a:t>
                      </a:r>
                      <a:endParaRPr lang="fr-FR" sz="16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extLst>
                  <a:ext uri="{0D108BD9-81ED-4DB2-BD59-A6C34878D82A}">
                    <a16:rowId xmlns:a16="http://schemas.microsoft.com/office/drawing/2014/main" val="2720875898"/>
                  </a:ext>
                </a:extLst>
              </a:tr>
            </a:tbl>
          </a:graphicData>
        </a:graphic>
      </p:graphicFrame>
      <p:grpSp>
        <p:nvGrpSpPr>
          <p:cNvPr id="8" name="Group 7">
            <a:extLst>
              <a:ext uri="{FF2B5EF4-FFF2-40B4-BE49-F238E27FC236}">
                <a16:creationId xmlns:a16="http://schemas.microsoft.com/office/drawing/2014/main" id="{8E043B00-0058-47DB-ABDA-014EE9EB8378}"/>
              </a:ext>
            </a:extLst>
          </p:cNvPr>
          <p:cNvGrpSpPr/>
          <p:nvPr/>
        </p:nvGrpSpPr>
        <p:grpSpPr>
          <a:xfrm>
            <a:off x="2855044" y="3539111"/>
            <a:ext cx="5842132" cy="2447201"/>
            <a:chOff x="2855044" y="3539111"/>
            <a:chExt cx="5842132" cy="2447201"/>
          </a:xfrm>
        </p:grpSpPr>
        <mc:AlternateContent xmlns:mc="http://schemas.openxmlformats.org/markup-compatibility/2006" xmlns:a14="http://schemas.microsoft.com/office/drawing/2010/main">
          <mc:Choice Requires="a14">
            <p:sp>
              <p:nvSpPr>
                <p:cNvPr id="5" name="Rectangle 4">
                  <a:extLst>
                    <a:ext uri="{FF2B5EF4-FFF2-40B4-BE49-F238E27FC236}">
                      <a16:creationId xmlns:a16="http://schemas.microsoft.com/office/drawing/2014/main" id="{A24D4EA0-AE18-4CBA-ABCE-F843EDE9EFEC}"/>
                    </a:ext>
                  </a:extLst>
                </p:cNvPr>
                <p:cNvSpPr/>
                <p:nvPr/>
              </p:nvSpPr>
              <p:spPr>
                <a:xfrm>
                  <a:off x="3412844" y="3539111"/>
                  <a:ext cx="5284332" cy="971484"/>
                </a:xfrm>
                <a:prstGeom prst="rect">
                  <a:avLst/>
                </a:prstGeom>
              </p:spPr>
              <p:txBody>
                <a:bodyPr wrap="none">
                  <a:spAutoFit/>
                </a:bodyPr>
                <a:lstStyle/>
                <a:p>
                  <a:pPr/>
                  <a14:m>
                    <m:oMathPara xmlns:m="http://schemas.openxmlformats.org/officeDocument/2006/math">
                      <m:oMathParaPr>
                        <m:jc m:val="center"/>
                      </m:oMathParaPr>
                      <m:oMath xmlns:m="http://schemas.openxmlformats.org/officeDocument/2006/math">
                        <m:r>
                          <a:rPr lang="fr-FR" sz="2800" b="1" i="1" smtClean="0">
                            <a:latin typeface="Cambria Math" panose="02040503050406030204" pitchFamily="18" charset="0"/>
                          </a:rPr>
                          <m:t>𝑫𝑷𝑼</m:t>
                        </m:r>
                        <m:r>
                          <a:rPr lang="fr-FR" sz="2800">
                            <a:latin typeface="Cambria Math" panose="02040503050406030204" pitchFamily="18" charset="0"/>
                          </a:rPr>
                          <m:t>=</m:t>
                        </m:r>
                        <m:f>
                          <m:fPr>
                            <m:ctrlPr>
                              <a:rPr lang="fr-FR" sz="2800" i="1">
                                <a:latin typeface="Cambria Math" panose="02040503050406030204" pitchFamily="18" charset="0"/>
                              </a:rPr>
                            </m:ctrlPr>
                          </m:fPr>
                          <m:num>
                            <m:sSub>
                              <m:sSubPr>
                                <m:ctrlPr>
                                  <a:rPr lang="fr-FR" sz="2800" i="1">
                                    <a:latin typeface="Cambria Math" panose="02040503050406030204" pitchFamily="18" charset="0"/>
                                  </a:rPr>
                                </m:ctrlPr>
                              </m:sSubPr>
                              <m:e>
                                <m:r>
                                  <a:rPr lang="fr-FR" sz="2800" b="1" i="1">
                                    <a:latin typeface="Cambria Math" panose="02040503050406030204" pitchFamily="18" charset="0"/>
                                  </a:rPr>
                                  <m:t>𝑵</m:t>
                                </m:r>
                              </m:e>
                              <m:sub>
                                <m:r>
                                  <a:rPr lang="fr-FR" sz="2800" b="1" i="1">
                                    <a:latin typeface="Cambria Math" panose="02040503050406030204" pitchFamily="18" charset="0"/>
                                  </a:rPr>
                                  <m:t>𝒅</m:t>
                                </m:r>
                              </m:sub>
                            </m:sSub>
                          </m:num>
                          <m:den>
                            <m:sSub>
                              <m:sSubPr>
                                <m:ctrlPr>
                                  <a:rPr lang="fr-FR" sz="2800" i="1">
                                    <a:latin typeface="Cambria Math" panose="02040503050406030204" pitchFamily="18" charset="0"/>
                                  </a:rPr>
                                </m:ctrlPr>
                              </m:sSubPr>
                              <m:e>
                                <m:r>
                                  <a:rPr lang="fr-FR" sz="2800" b="1" i="1">
                                    <a:latin typeface="Cambria Math" panose="02040503050406030204" pitchFamily="18" charset="0"/>
                                  </a:rPr>
                                  <m:t>𝑵</m:t>
                                </m:r>
                              </m:e>
                              <m:sub>
                                <m:r>
                                  <a:rPr lang="fr-FR" sz="2800" b="1" i="1">
                                    <a:latin typeface="Cambria Math" panose="02040503050406030204" pitchFamily="18" charset="0"/>
                                  </a:rPr>
                                  <m:t>𝒗</m:t>
                                </m:r>
                              </m:sub>
                            </m:sSub>
                          </m:den>
                        </m:f>
                        <m:r>
                          <a:rPr lang="fr-FR" sz="2800">
                            <a:latin typeface="Cambria Math" panose="02040503050406030204" pitchFamily="18" charset="0"/>
                          </a:rPr>
                          <m:t>=</m:t>
                        </m:r>
                        <m:sSub>
                          <m:sSubPr>
                            <m:ctrlPr>
                              <a:rPr lang="fr-FR" sz="2800" i="1">
                                <a:latin typeface="Cambria Math" panose="02040503050406030204" pitchFamily="18" charset="0"/>
                              </a:rPr>
                            </m:ctrlPr>
                          </m:sSubPr>
                          <m:e>
                            <m:r>
                              <a:rPr lang="fr-FR" sz="2800" b="1" i="1">
                                <a:latin typeface="Cambria Math" panose="02040503050406030204" pitchFamily="18" charset="0"/>
                              </a:rPr>
                              <m:t>𝑫𝑷𝑼</m:t>
                            </m:r>
                          </m:e>
                          <m:sub>
                            <m:r>
                              <a:rPr lang="fr-FR" sz="2800" b="1" i="1">
                                <a:latin typeface="Cambria Math" panose="02040503050406030204" pitchFamily="18" charset="0"/>
                              </a:rPr>
                              <m:t>𝑰𝑵</m:t>
                            </m:r>
                          </m:sub>
                        </m:sSub>
                        <m:r>
                          <a:rPr lang="fr-FR" sz="2800">
                            <a:latin typeface="Cambria Math" panose="02040503050406030204" pitchFamily="18" charset="0"/>
                          </a:rPr>
                          <m:t>+</m:t>
                        </m:r>
                        <m:sSub>
                          <m:sSubPr>
                            <m:ctrlPr>
                              <a:rPr lang="fr-FR" sz="2800" i="1">
                                <a:latin typeface="Cambria Math" panose="02040503050406030204" pitchFamily="18" charset="0"/>
                              </a:rPr>
                            </m:ctrlPr>
                          </m:sSubPr>
                          <m:e>
                            <m:r>
                              <a:rPr lang="fr-FR" sz="2800" b="1" i="1">
                                <a:latin typeface="Cambria Math" panose="02040503050406030204" pitchFamily="18" charset="0"/>
                              </a:rPr>
                              <m:t>𝑫𝑷𝑼</m:t>
                            </m:r>
                          </m:e>
                          <m:sub>
                            <m:r>
                              <a:rPr lang="fr-FR" sz="2800" b="1" i="1">
                                <a:latin typeface="Cambria Math" panose="02040503050406030204" pitchFamily="18" charset="0"/>
                              </a:rPr>
                              <m:t>𝑶𝑭𝑭</m:t>
                            </m:r>
                          </m:sub>
                        </m:sSub>
                      </m:oMath>
                    </m:oMathPara>
                  </a14:m>
                  <a:endParaRPr lang="fr-FR" sz="2800" dirty="0">
                    <a:latin typeface="Times New Roman" panose="02020603050405020304" pitchFamily="18" charset="0"/>
                    <a:cs typeface="Times New Roman" panose="02020603050405020304" pitchFamily="18" charset="0"/>
                  </a:endParaRPr>
                </a:p>
              </p:txBody>
            </p:sp>
          </mc:Choice>
          <mc:Fallback xmlns="">
            <p:sp>
              <p:nvSpPr>
                <p:cNvPr id="5" name="Rectangle 4">
                  <a:extLst>
                    <a:ext uri="{FF2B5EF4-FFF2-40B4-BE49-F238E27FC236}">
                      <a16:creationId xmlns:a16="http://schemas.microsoft.com/office/drawing/2014/main" id="{A24D4EA0-AE18-4CBA-ABCE-F843EDE9EFEC}"/>
                    </a:ext>
                  </a:extLst>
                </p:cNvPr>
                <p:cNvSpPr>
                  <a:spLocks noRot="1" noChangeAspect="1" noMove="1" noResize="1" noEditPoints="1" noAdjustHandles="1" noChangeArrowheads="1" noChangeShapeType="1" noTextEdit="1"/>
                </p:cNvSpPr>
                <p:nvPr/>
              </p:nvSpPr>
              <p:spPr>
                <a:xfrm>
                  <a:off x="3412844" y="3539111"/>
                  <a:ext cx="5284332" cy="971484"/>
                </a:xfrm>
                <a:prstGeom prst="rect">
                  <a:avLst/>
                </a:prstGeom>
                <a:blipFill>
                  <a:blip r:embed="rId3"/>
                  <a:stretch>
                    <a:fillRect/>
                  </a:stretch>
                </a:blipFill>
              </p:spPr>
              <p:txBody>
                <a:bodyPr/>
                <a:lstStyle/>
                <a:p>
                  <a:r>
                    <a:rPr lang="fr-FR">
                      <a:noFill/>
                    </a:rPr>
                    <a:t> </a:t>
                  </a:r>
                </a:p>
              </p:txBody>
            </p:sp>
          </mc:Fallback>
        </mc:AlternateContent>
        <p:sp>
          <p:nvSpPr>
            <p:cNvPr id="7" name="Rectangle 6">
              <a:extLst>
                <a:ext uri="{FF2B5EF4-FFF2-40B4-BE49-F238E27FC236}">
                  <a16:creationId xmlns:a16="http://schemas.microsoft.com/office/drawing/2014/main" id="{5FEF1789-3476-4969-AA27-3D06CE00B3BE}"/>
                </a:ext>
              </a:extLst>
            </p:cNvPr>
            <p:cNvSpPr/>
            <p:nvPr/>
          </p:nvSpPr>
          <p:spPr>
            <a:xfrm>
              <a:off x="2855044" y="4651075"/>
              <a:ext cx="4489143" cy="1335237"/>
            </a:xfrm>
            <a:prstGeom prst="rect">
              <a:avLst/>
            </a:prstGeom>
          </p:spPr>
          <p:txBody>
            <a:bodyPr wrap="square">
              <a:spAutoFit/>
            </a:bodyPr>
            <a:lstStyle/>
            <a:p>
              <a:pPr algn="just">
                <a:lnSpc>
                  <a:spcPct val="150000"/>
                </a:lnSpc>
                <a:spcAft>
                  <a:spcPts val="0"/>
                </a:spcAft>
                <a:tabLst>
                  <a:tab pos="671195" algn="l"/>
                </a:tabLst>
              </a:pPr>
              <a:r>
                <a:rPr lang="fr-FR" b="1" dirty="0">
                  <a:latin typeface="Times New Roman" panose="02020603050405020304" pitchFamily="18" charset="0"/>
                  <a:ea typeface="Calibri" panose="020F0502020204030204" pitchFamily="34" charset="0"/>
                  <a:cs typeface="Times New Roman" panose="02020603050405020304" pitchFamily="18" charset="0"/>
                </a:rPr>
                <a:t>Avec :     </a:t>
              </a:r>
              <a:endParaRPr lang="fr-FR" sz="1600" dirty="0">
                <a:latin typeface="Times New Roman" panose="02020603050405020304" pitchFamily="18" charset="0"/>
                <a:ea typeface="Calibri" panose="020F0502020204030204" pitchFamily="34" charset="0"/>
                <a:cs typeface="Times New Roman" panose="02020603050405020304" pitchFamily="18" charset="0"/>
              </a:endParaRPr>
            </a:p>
            <a:p>
              <a:pPr lvl="0" algn="just" fontAlgn="base">
                <a:lnSpc>
                  <a:spcPct val="150000"/>
                </a:lnSpc>
                <a:spcAft>
                  <a:spcPts val="0"/>
                </a:spcAft>
                <a:tabLst>
                  <a:tab pos="671195" algn="l"/>
                </a:tabLst>
              </a:pPr>
              <a:r>
                <a:rPr lang="fr-FR" sz="2000" b="1" dirty="0">
                  <a:latin typeface="Times New Roman" panose="02020603050405020304" pitchFamily="18" charset="0"/>
                  <a:ea typeface="Calibri" panose="020F0502020204030204" pitchFamily="34" charset="0"/>
                  <a:cs typeface="Times New Roman" panose="02020603050405020304" pitchFamily="18" charset="0"/>
                </a:rPr>
                <a:t>   </a:t>
              </a:r>
              <a:r>
                <a:rPr lang="fr-FR" b="1" dirty="0">
                  <a:latin typeface="Times New Roman" panose="02020603050405020304" pitchFamily="18" charset="0"/>
                  <a:ea typeface="Calibri" panose="020F0502020204030204" pitchFamily="34" charset="0"/>
                  <a:cs typeface="Times New Roman" panose="02020603050405020304" pitchFamily="18" charset="0"/>
                </a:rPr>
                <a:t>N</a:t>
              </a:r>
              <a:r>
                <a:rPr lang="fr-FR" b="1" baseline="-25000" dirty="0">
                  <a:latin typeface="Times New Roman" panose="02020603050405020304" pitchFamily="18" charset="0"/>
                  <a:ea typeface="Calibri" panose="020F0502020204030204" pitchFamily="34" charset="0"/>
                  <a:cs typeface="Times New Roman" panose="02020603050405020304" pitchFamily="18" charset="0"/>
                </a:rPr>
                <a:t>d</a:t>
              </a:r>
              <a:r>
                <a:rPr lang="fr-FR" sz="2000" b="1" dirty="0">
                  <a:latin typeface="Times New Roman" panose="02020603050405020304" pitchFamily="18" charset="0"/>
                  <a:ea typeface="Calibri" panose="020F0502020204030204" pitchFamily="34" charset="0"/>
                  <a:cs typeface="Times New Roman" panose="02020603050405020304" pitchFamily="18" charset="0"/>
                </a:rPr>
                <a:t> </a:t>
              </a:r>
              <a:r>
                <a:rPr lang="fr-FR" sz="2000" dirty="0">
                  <a:latin typeface="Times New Roman" panose="02020603050405020304" pitchFamily="18" charset="0"/>
                  <a:ea typeface="Calibri" panose="020F0502020204030204" pitchFamily="34" charset="0"/>
                  <a:cs typeface="Times New Roman" panose="02020603050405020304" pitchFamily="18" charset="0"/>
                </a:rPr>
                <a:t>:</a:t>
              </a:r>
              <a:r>
                <a:rPr lang="fr-FR" sz="2000" b="1" baseline="-25000" dirty="0">
                  <a:latin typeface="Times New Roman" panose="02020603050405020304" pitchFamily="18" charset="0"/>
                  <a:ea typeface="Calibri" panose="020F0502020204030204" pitchFamily="34" charset="0"/>
                  <a:cs typeface="Times New Roman" panose="02020603050405020304" pitchFamily="18" charset="0"/>
                </a:rPr>
                <a:t> </a:t>
              </a:r>
              <a:r>
                <a:rPr lang="fr-FR" sz="2000" dirty="0">
                  <a:latin typeface="Times New Roman" panose="02020603050405020304" pitchFamily="18" charset="0"/>
                  <a:ea typeface="Calibri" panose="020F0502020204030204" pitchFamily="34" charset="0"/>
                  <a:cs typeface="Times New Roman" panose="02020603050405020304" pitchFamily="18" charset="0"/>
                </a:rPr>
                <a:t>nombre total</a:t>
              </a:r>
              <a:r>
                <a:rPr lang="fr-FR" sz="2000" baseline="-25000" dirty="0">
                  <a:latin typeface="Times New Roman" panose="02020603050405020304" pitchFamily="18" charset="0"/>
                  <a:ea typeface="Calibri" panose="020F0502020204030204" pitchFamily="34" charset="0"/>
                  <a:cs typeface="Times New Roman" panose="02020603050405020304" pitchFamily="18" charset="0"/>
                </a:rPr>
                <a:t> </a:t>
              </a:r>
              <a:r>
                <a:rPr lang="fr-FR" sz="2000" dirty="0">
                  <a:latin typeface="Times New Roman" panose="02020603050405020304" pitchFamily="18" charset="0"/>
                  <a:ea typeface="Calibri" panose="020F0502020204030204" pitchFamily="34" charset="0"/>
                  <a:cs typeface="Times New Roman" panose="02020603050405020304" pitchFamily="18" charset="0"/>
                </a:rPr>
                <a:t>des défauts retouchés </a:t>
              </a:r>
              <a:endParaRPr lang="fr-FR" dirty="0">
                <a:latin typeface="Times New Roman" panose="02020603050405020304" pitchFamily="18" charset="0"/>
                <a:ea typeface="Calibri" panose="020F0502020204030204" pitchFamily="34" charset="0"/>
                <a:cs typeface="Times New Roman" panose="02020603050405020304" pitchFamily="18" charset="0"/>
              </a:endParaRPr>
            </a:p>
            <a:p>
              <a:pPr lvl="0" algn="just" fontAlgn="base">
                <a:lnSpc>
                  <a:spcPct val="150000"/>
                </a:lnSpc>
                <a:spcAft>
                  <a:spcPts val="0"/>
                </a:spcAft>
                <a:tabLst>
                  <a:tab pos="671195" algn="l"/>
                </a:tabLst>
              </a:pPr>
              <a:r>
                <a:rPr lang="fr-FR" b="1" dirty="0">
                  <a:latin typeface="Times New Roman" panose="02020603050405020304" pitchFamily="18" charset="0"/>
                  <a:ea typeface="Calibri" panose="020F0502020204030204" pitchFamily="34" charset="0"/>
                  <a:cs typeface="Times New Roman" panose="02020603050405020304" pitchFamily="18" charset="0"/>
                </a:rPr>
                <a:t>   N</a:t>
              </a:r>
              <a:r>
                <a:rPr lang="fr-FR" b="1" baseline="-25000" dirty="0">
                  <a:latin typeface="Times New Roman" panose="02020603050405020304" pitchFamily="18" charset="0"/>
                  <a:ea typeface="Calibri" panose="020F0502020204030204" pitchFamily="34" charset="0"/>
                  <a:cs typeface="Times New Roman" panose="02020603050405020304" pitchFamily="18" charset="0"/>
                </a:rPr>
                <a:t>v </a:t>
              </a:r>
              <a:r>
                <a:rPr lang="fr-FR" dirty="0">
                  <a:latin typeface="Times New Roman" panose="02020603050405020304" pitchFamily="18" charset="0"/>
                  <a:ea typeface="Calibri" panose="020F0502020204030204" pitchFamily="34" charset="0"/>
                  <a:cs typeface="Times New Roman" panose="02020603050405020304" pitchFamily="18" charset="0"/>
                </a:rPr>
                <a:t>: nombre de véhicule produits </a:t>
              </a:r>
              <a:endParaRPr lang="fr-FR" sz="1600" dirty="0">
                <a:latin typeface="Times New Roman" panose="02020603050405020304" pitchFamily="18" charset="0"/>
                <a:ea typeface="Calibri" panose="020F0502020204030204" pitchFamily="34" charset="0"/>
                <a:cs typeface="Times New Roman" panose="02020603050405020304" pitchFamily="18" charset="0"/>
              </a:endParaRPr>
            </a:p>
          </p:txBody>
        </p:sp>
      </p:grpSp>
      <p:sp>
        <p:nvSpPr>
          <p:cNvPr id="9" name="Oval 8">
            <a:extLst>
              <a:ext uri="{FF2B5EF4-FFF2-40B4-BE49-F238E27FC236}">
                <a16:creationId xmlns:a16="http://schemas.microsoft.com/office/drawing/2014/main" id="{75A42BAF-97C3-4E24-ACE5-1C201C164EB0}"/>
              </a:ext>
            </a:extLst>
          </p:cNvPr>
          <p:cNvSpPr/>
          <p:nvPr/>
        </p:nvSpPr>
        <p:spPr>
          <a:xfrm>
            <a:off x="7135914" y="3491071"/>
            <a:ext cx="1670629" cy="1181556"/>
          </a:xfrm>
          <a:prstGeom prst="ellipse">
            <a:avLst/>
          </a:prstGeom>
          <a:noFill/>
          <a:ln w="952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fr-FR"/>
          </a:p>
        </p:txBody>
      </p:sp>
    </p:spTree>
    <p:extLst>
      <p:ext uri="{BB962C8B-B14F-4D97-AF65-F5344CB8AC3E}">
        <p14:creationId xmlns:p14="http://schemas.microsoft.com/office/powerpoint/2010/main" val="761360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mph" presetSubtype="0" fill="remove" grpId="0" nodeType="afterEffect">
                                  <p:stCondLst>
                                    <p:cond delay="0"/>
                                  </p:stCondLst>
                                  <p:childTnLst>
                                    <p:animClr clrSpc="rgb" dir="cw">
                                      <p:cBhvr override="childStyle">
                                        <p:cTn id="6" dur="250" autoRev="1" fill="remove"/>
                                        <p:tgtEl>
                                          <p:spTgt spid="52"/>
                                        </p:tgtEl>
                                        <p:attrNameLst>
                                          <p:attrName>style.color</p:attrName>
                                        </p:attrNameLst>
                                      </p:cBhvr>
                                      <p:to>
                                        <a:schemeClr val="bg1"/>
                                      </p:to>
                                    </p:animClr>
                                    <p:animClr clrSpc="rgb" dir="cw">
                                      <p:cBhvr>
                                        <p:cTn id="7" dur="250" autoRev="1" fill="remove"/>
                                        <p:tgtEl>
                                          <p:spTgt spid="52"/>
                                        </p:tgtEl>
                                        <p:attrNameLst>
                                          <p:attrName>fillcolor</p:attrName>
                                        </p:attrNameLst>
                                      </p:cBhvr>
                                      <p:to>
                                        <a:schemeClr val="bg1"/>
                                      </p:to>
                                    </p:animClr>
                                    <p:set>
                                      <p:cBhvr>
                                        <p:cTn id="8" dur="250" autoRev="1" fill="remove"/>
                                        <p:tgtEl>
                                          <p:spTgt spid="52"/>
                                        </p:tgtEl>
                                        <p:attrNameLst>
                                          <p:attrName>fill.type</p:attrName>
                                        </p:attrNameLst>
                                      </p:cBhvr>
                                      <p:to>
                                        <p:strVal val="solid"/>
                                      </p:to>
                                    </p:set>
                                    <p:set>
                                      <p:cBhvr>
                                        <p:cTn id="9" dur="250" autoRev="1" fill="remove"/>
                                        <p:tgtEl>
                                          <p:spTgt spid="52"/>
                                        </p:tgtEl>
                                        <p:attrNameLst>
                                          <p:attrName>fill.on</p:attrName>
                                        </p:attrNameLst>
                                      </p:cBhvr>
                                      <p:to>
                                        <p:strVal val="true"/>
                                      </p:to>
                                    </p:se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p:cTn id="21" dur="500" fill="hold"/>
                                        <p:tgtEl>
                                          <p:spTgt spid="9"/>
                                        </p:tgtEl>
                                        <p:attrNameLst>
                                          <p:attrName>ppt_w</p:attrName>
                                        </p:attrNameLst>
                                      </p:cBhvr>
                                      <p:tavLst>
                                        <p:tav tm="0">
                                          <p:val>
                                            <p:fltVal val="0"/>
                                          </p:val>
                                        </p:tav>
                                        <p:tav tm="100000">
                                          <p:val>
                                            <p:strVal val="#ppt_w"/>
                                          </p:val>
                                        </p:tav>
                                      </p:tavLst>
                                    </p:anim>
                                    <p:anim calcmode="lin" valueType="num">
                                      <p:cBhvr>
                                        <p:cTn id="22" dur="500" fill="hold"/>
                                        <p:tgtEl>
                                          <p:spTgt spid="9"/>
                                        </p:tgtEl>
                                        <p:attrNameLst>
                                          <p:attrName>ppt_h</p:attrName>
                                        </p:attrNameLst>
                                      </p:cBhvr>
                                      <p:tavLst>
                                        <p:tav tm="0">
                                          <p:val>
                                            <p:fltVal val="0"/>
                                          </p:val>
                                        </p:tav>
                                        <p:tav tm="100000">
                                          <p:val>
                                            <p:strVal val="#ppt_h"/>
                                          </p:val>
                                        </p:tav>
                                      </p:tavLst>
                                    </p:anim>
                                    <p:animEffect transition="in" filter="fade">
                                      <p:cBhvr>
                                        <p:cTn id="23" dur="5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xit" presetSubtype="4" fill="hold" nodeType="clickEffect">
                                  <p:stCondLst>
                                    <p:cond delay="0"/>
                                  </p:stCondLst>
                                  <p:childTnLst>
                                    <p:animEffect transition="out" filter="wipe(down)">
                                      <p:cBhvr>
                                        <p:cTn id="27" dur="500"/>
                                        <p:tgtEl>
                                          <p:spTgt spid="8"/>
                                        </p:tgtEl>
                                      </p:cBhvr>
                                    </p:animEffect>
                                    <p:set>
                                      <p:cBhvr>
                                        <p:cTn id="28" dur="1" fill="hold">
                                          <p:stCondLst>
                                            <p:cond delay="499"/>
                                          </p:stCondLst>
                                        </p:cTn>
                                        <p:tgtEl>
                                          <p:spTgt spid="8"/>
                                        </p:tgtEl>
                                        <p:attrNameLst>
                                          <p:attrName>style.visibility</p:attrName>
                                        </p:attrNameLst>
                                      </p:cBhvr>
                                      <p:to>
                                        <p:strVal val="hidden"/>
                                      </p:to>
                                    </p:set>
                                  </p:childTnLst>
                                </p:cTn>
                              </p:par>
                              <p:par>
                                <p:cTn id="29" presetID="22" presetClass="exit" presetSubtype="4" fill="hold" grpId="1" nodeType="withEffect">
                                  <p:stCondLst>
                                    <p:cond delay="0"/>
                                  </p:stCondLst>
                                  <p:childTnLst>
                                    <p:animEffect transition="out" filter="wipe(down)">
                                      <p:cBhvr>
                                        <p:cTn id="30" dur="500"/>
                                        <p:tgtEl>
                                          <p:spTgt spid="9"/>
                                        </p:tgtEl>
                                      </p:cBhvr>
                                    </p:animEffect>
                                    <p:set>
                                      <p:cBhvr>
                                        <p:cTn id="31" dur="1" fill="hold">
                                          <p:stCondLst>
                                            <p:cond delay="499"/>
                                          </p:stCondLst>
                                        </p:cTn>
                                        <p:tgtEl>
                                          <p:spTgt spid="9"/>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2" presetClass="entr" presetSubtype="4" fill="hold" nodeType="clickEffect">
                                  <p:stCondLst>
                                    <p:cond delay="0"/>
                                  </p:stCondLst>
                                  <p:childTnLst>
                                    <p:set>
                                      <p:cBhvr>
                                        <p:cTn id="35" dur="1" fill="hold">
                                          <p:stCondLst>
                                            <p:cond delay="0"/>
                                          </p:stCondLst>
                                        </p:cTn>
                                        <p:tgtEl>
                                          <p:spTgt spid="3"/>
                                        </p:tgtEl>
                                        <p:attrNameLst>
                                          <p:attrName>style.visibility</p:attrName>
                                        </p:attrNameLst>
                                      </p:cBhvr>
                                      <p:to>
                                        <p:strVal val="visible"/>
                                      </p:to>
                                    </p:set>
                                    <p:anim calcmode="lin" valueType="num">
                                      <p:cBhvr additive="base">
                                        <p:cTn id="36" dur="500" fill="hold"/>
                                        <p:tgtEl>
                                          <p:spTgt spid="3"/>
                                        </p:tgtEl>
                                        <p:attrNameLst>
                                          <p:attrName>ppt_x</p:attrName>
                                        </p:attrNameLst>
                                      </p:cBhvr>
                                      <p:tavLst>
                                        <p:tav tm="0">
                                          <p:val>
                                            <p:strVal val="#ppt_x"/>
                                          </p:val>
                                        </p:tav>
                                        <p:tav tm="100000">
                                          <p:val>
                                            <p:strVal val="#ppt_x"/>
                                          </p:val>
                                        </p:tav>
                                      </p:tavLst>
                                    </p:anim>
                                    <p:anim calcmode="lin" valueType="num">
                                      <p:cBhvr additive="base">
                                        <p:cTn id="37"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9" grpId="0" animBg="1"/>
      <p:bldP spid="9"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7C48BE9-4E3C-446B-A029-CE23F190385F}"/>
              </a:ext>
            </a:extLst>
          </p:cNvPr>
          <p:cNvGrpSpPr/>
          <p:nvPr/>
        </p:nvGrpSpPr>
        <p:grpSpPr>
          <a:xfrm>
            <a:off x="2508725" y="2912794"/>
            <a:ext cx="6551999" cy="2467227"/>
            <a:chOff x="2273404" y="3061438"/>
            <a:chExt cx="6551999" cy="2467227"/>
          </a:xfrm>
        </p:grpSpPr>
        <mc:AlternateContent xmlns:mc="http://schemas.openxmlformats.org/markup-compatibility/2006" xmlns:a14="http://schemas.microsoft.com/office/drawing/2010/main">
          <mc:Choice Requires="a14">
            <p:sp>
              <p:nvSpPr>
                <p:cNvPr id="4" name="Rectangle 3">
                  <a:extLst>
                    <a:ext uri="{FF2B5EF4-FFF2-40B4-BE49-F238E27FC236}">
                      <a16:creationId xmlns:a16="http://schemas.microsoft.com/office/drawing/2014/main" id="{FECE0DD7-8EF0-4B33-A61E-B9906CFEFA67}"/>
                    </a:ext>
                  </a:extLst>
                </p:cNvPr>
                <p:cNvSpPr/>
                <p:nvPr/>
              </p:nvSpPr>
              <p:spPr>
                <a:xfrm>
                  <a:off x="3759401" y="3061438"/>
                  <a:ext cx="5066002" cy="765659"/>
                </a:xfrm>
                <a:prstGeom prst="rect">
                  <a:avLst/>
                </a:prstGeom>
              </p:spPr>
              <p:txBody>
                <a:bodyPr wrap="none">
                  <a:spAutoFit/>
                </a:bodyPr>
                <a:lstStyle/>
                <a:p>
                  <a14:m>
                    <m:oMath xmlns:m="http://schemas.openxmlformats.org/officeDocument/2006/math">
                      <m:sSub>
                        <m:sSubPr>
                          <m:ctrlPr>
                            <a:rPr lang="fr-FR" sz="2800" b="1" i="1" smtClean="0">
                              <a:latin typeface="Cambria Math" panose="02040503050406030204" pitchFamily="18" charset="0"/>
                            </a:rPr>
                          </m:ctrlPr>
                        </m:sSubPr>
                        <m:e>
                          <m:r>
                            <a:rPr lang="fr-FR" sz="2800" b="1" i="1">
                              <a:latin typeface="Cambria Math" panose="02040503050406030204" pitchFamily="18" charset="0"/>
                            </a:rPr>
                            <m:t>𝐆𝐌𝐅</m:t>
                          </m:r>
                        </m:e>
                        <m:sub>
                          <m:r>
                            <a:rPr lang="fr-FR" sz="2800" b="1" i="1">
                              <a:latin typeface="Cambria Math" panose="02040503050406030204" pitchFamily="18" charset="0"/>
                            </a:rPr>
                            <m:t>𝐁𝐓</m:t>
                          </m:r>
                        </m:sub>
                      </m:sSub>
                      <m:r>
                        <a:rPr lang="fr-FR" sz="2800" b="1" i="1">
                          <a:latin typeface="Cambria Math" panose="02040503050406030204" pitchFamily="18" charset="0"/>
                        </a:rPr>
                        <m:t>=</m:t>
                      </m:r>
                      <m:f>
                        <m:fPr>
                          <m:ctrlPr>
                            <a:rPr lang="fr-FR" sz="2800" b="1" i="1">
                              <a:latin typeface="Cambria Math" panose="02040503050406030204" pitchFamily="18" charset="0"/>
                            </a:rPr>
                          </m:ctrlPr>
                        </m:fPr>
                        <m:num>
                          <m:sSub>
                            <m:sSubPr>
                              <m:ctrlPr>
                                <a:rPr lang="fr-FR" sz="2800" b="1" i="1">
                                  <a:latin typeface="Cambria Math" panose="02040503050406030204" pitchFamily="18" charset="0"/>
                                </a:rPr>
                              </m:ctrlPr>
                            </m:sSubPr>
                            <m:e>
                              <m:r>
                                <a:rPr lang="fr-FR" sz="2800" b="1" i="1">
                                  <a:latin typeface="Cambria Math" panose="02040503050406030204" pitchFamily="18" charset="0"/>
                                </a:rPr>
                                <m:t>𝐍</m:t>
                              </m:r>
                            </m:e>
                            <m:sub>
                              <m:r>
                                <a:rPr lang="fr-FR" sz="2800" b="1" i="1">
                                  <a:latin typeface="Cambria Math" panose="02040503050406030204" pitchFamily="18" charset="0"/>
                                </a:rPr>
                                <m:t> </m:t>
                              </m:r>
                              <m:r>
                                <a:rPr lang="fr-FR" sz="2800" b="1" i="1">
                                  <a:latin typeface="Cambria Math" panose="02040503050406030204" pitchFamily="18" charset="0"/>
                                </a:rPr>
                                <m:t>𝐜𝐚𝐬</m:t>
                              </m:r>
                              <m:r>
                                <a:rPr lang="fr-FR" sz="2800" b="1" i="1">
                                  <a:latin typeface="Cambria Math" panose="02040503050406030204" pitchFamily="18" charset="0"/>
                                </a:rPr>
                                <m:t> </m:t>
                              </m:r>
                            </m:sub>
                          </m:sSub>
                        </m:num>
                        <m:den>
                          <m:sSub>
                            <m:sSubPr>
                              <m:ctrlPr>
                                <a:rPr lang="fr-FR" sz="2800" b="1" i="1">
                                  <a:latin typeface="Cambria Math" panose="02040503050406030204" pitchFamily="18" charset="0"/>
                                </a:rPr>
                              </m:ctrlPr>
                            </m:sSubPr>
                            <m:e>
                              <m:r>
                                <a:rPr lang="fr-FR" sz="2800" b="1" i="1">
                                  <a:latin typeface="Cambria Math" panose="02040503050406030204" pitchFamily="18" charset="0"/>
                                </a:rPr>
                                <m:t>𝐏</m:t>
                              </m:r>
                            </m:e>
                            <m:sub>
                              <m:r>
                                <a:rPr lang="fr-FR" sz="2800" b="1" i="1">
                                  <a:latin typeface="Cambria Math" panose="02040503050406030204" pitchFamily="18" charset="0"/>
                                </a:rPr>
                                <m:t>𝐮𝐬𝐢𝐧𝐞</m:t>
                              </m:r>
                            </m:sub>
                          </m:sSub>
                        </m:den>
                      </m:f>
                      <m:r>
                        <a:rPr lang="fr-FR" sz="2800" b="1" i="1">
                          <a:latin typeface="Cambria Math" panose="02040503050406030204" pitchFamily="18" charset="0"/>
                        </a:rPr>
                        <m:t>×1000 (</m:t>
                      </m:r>
                      <m:r>
                        <a:rPr lang="fr-FR" sz="2800" b="1" i="1">
                          <a:latin typeface="Cambria Math" panose="02040503050406030204" pitchFamily="18" charset="0"/>
                        </a:rPr>
                        <m:t>𝑲</m:t>
                      </m:r>
                      <m:r>
                        <a:rPr lang="fr-FR" sz="2800" b="1" i="1">
                          <a:latin typeface="Cambria Math" panose="02040503050406030204" pitchFamily="18" charset="0"/>
                        </a:rPr>
                        <m:t>°/</m:t>
                      </m:r>
                      <m:r>
                        <a:rPr lang="fr-FR" sz="2800" b="1" i="1">
                          <a:latin typeface="Cambria Math" panose="02040503050406030204" pitchFamily="18" charset="0"/>
                        </a:rPr>
                        <m:t>𝟎𝟎</m:t>
                      </m:r>
                    </m:oMath>
                  </a14:m>
                  <a:r>
                    <a:rPr lang="fr-FR" sz="2800" b="1" i="1" dirty="0">
                      <a:latin typeface="Cambria Math" panose="02040503050406030204" pitchFamily="18" charset="0"/>
                    </a:rPr>
                    <a:t>)</a:t>
                  </a:r>
                </a:p>
              </p:txBody>
            </p:sp>
          </mc:Choice>
          <mc:Fallback xmlns="">
            <p:sp>
              <p:nvSpPr>
                <p:cNvPr id="4" name="Rectangle 3">
                  <a:extLst>
                    <a:ext uri="{FF2B5EF4-FFF2-40B4-BE49-F238E27FC236}">
                      <a16:creationId xmlns:a16="http://schemas.microsoft.com/office/drawing/2014/main" id="{FECE0DD7-8EF0-4B33-A61E-B9906CFEFA67}"/>
                    </a:ext>
                  </a:extLst>
                </p:cNvPr>
                <p:cNvSpPr>
                  <a:spLocks noRot="1" noChangeAspect="1" noMove="1" noResize="1" noEditPoints="1" noAdjustHandles="1" noChangeArrowheads="1" noChangeShapeType="1" noTextEdit="1"/>
                </p:cNvSpPr>
                <p:nvPr/>
              </p:nvSpPr>
              <p:spPr>
                <a:xfrm>
                  <a:off x="3759401" y="3061438"/>
                  <a:ext cx="5066002" cy="765659"/>
                </a:xfrm>
                <a:prstGeom prst="rect">
                  <a:avLst/>
                </a:prstGeom>
                <a:blipFill>
                  <a:blip r:embed="rId3"/>
                  <a:stretch>
                    <a:fillRect r="-1685" b="-1600"/>
                  </a:stretch>
                </a:blipFill>
              </p:spPr>
              <p:txBody>
                <a:bodyPr/>
                <a:lstStyle/>
                <a:p>
                  <a:r>
                    <a:rPr lang="fr-FR">
                      <a:noFill/>
                    </a:rPr>
                    <a:t> </a:t>
                  </a:r>
                </a:p>
              </p:txBody>
            </p:sp>
          </mc:Fallback>
        </mc:AlternateContent>
        <p:sp>
          <p:nvSpPr>
            <p:cNvPr id="6" name="Rectangle 5">
              <a:extLst>
                <a:ext uri="{FF2B5EF4-FFF2-40B4-BE49-F238E27FC236}">
                  <a16:creationId xmlns:a16="http://schemas.microsoft.com/office/drawing/2014/main" id="{EC6F341A-9B3A-4FA9-9F8A-BA21C933239C}"/>
                </a:ext>
              </a:extLst>
            </p:cNvPr>
            <p:cNvSpPr/>
            <p:nvPr/>
          </p:nvSpPr>
          <p:spPr>
            <a:xfrm>
              <a:off x="2273404" y="4239594"/>
              <a:ext cx="6096000" cy="1289071"/>
            </a:xfrm>
            <a:prstGeom prst="rect">
              <a:avLst/>
            </a:prstGeom>
          </p:spPr>
          <p:txBody>
            <a:bodyPr>
              <a:spAutoFit/>
            </a:bodyPr>
            <a:lstStyle/>
            <a:p>
              <a:pPr algn="just">
                <a:lnSpc>
                  <a:spcPct val="150000"/>
                </a:lnSpc>
                <a:spcAft>
                  <a:spcPts val="0"/>
                </a:spcAft>
              </a:pPr>
              <a:r>
                <a:rPr lang="fr-FR" dirty="0">
                  <a:latin typeface="Times New Roman" panose="02020603050405020304" pitchFamily="18" charset="0"/>
                  <a:cs typeface="Times New Roman" panose="02020603050405020304" pitchFamily="18" charset="0"/>
                </a:rPr>
                <a:t>Avec :</a:t>
              </a:r>
            </a:p>
            <a:p>
              <a:pPr algn="just">
                <a:lnSpc>
                  <a:spcPct val="150000"/>
                </a:lnSpc>
                <a:spcAft>
                  <a:spcPts val="0"/>
                </a:spcAft>
              </a:pPr>
              <a:r>
                <a:rPr lang="fr-FR" dirty="0">
                  <a:latin typeface="Times New Roman" panose="02020603050405020304" pitchFamily="18" charset="0"/>
                  <a:cs typeface="Times New Roman" panose="02020603050405020304" pitchFamily="18" charset="0"/>
                </a:rPr>
                <a:t> </a:t>
              </a:r>
              <a:r>
                <a:rPr lang="fr-FR" dirty="0" err="1">
                  <a:latin typeface="Times New Roman" panose="02020603050405020304" pitchFamily="18" charset="0"/>
                  <a:cs typeface="Times New Roman" panose="02020603050405020304" pitchFamily="18" charset="0"/>
                </a:rPr>
                <a:t>Ncas</a:t>
              </a:r>
              <a:r>
                <a:rPr lang="fr-FR" dirty="0">
                  <a:latin typeface="Times New Roman" panose="02020603050405020304" pitchFamily="18" charset="0"/>
                  <a:cs typeface="Times New Roman" panose="02020603050405020304" pitchFamily="18" charset="0"/>
                </a:rPr>
                <a:t> : nombre des cas GMF.</a:t>
              </a:r>
            </a:p>
            <a:p>
              <a:pPr algn="just">
                <a:lnSpc>
                  <a:spcPct val="150000"/>
                </a:lnSpc>
                <a:spcAft>
                  <a:spcPts val="0"/>
                </a:spcAft>
              </a:pPr>
              <a:r>
                <a:rPr lang="fr-FR" dirty="0">
                  <a:latin typeface="Times New Roman" panose="02020603050405020304" pitchFamily="18" charset="0"/>
                  <a:cs typeface="Times New Roman" panose="02020603050405020304" pitchFamily="18" charset="0"/>
                </a:rPr>
                <a:t> </a:t>
              </a:r>
              <a:r>
                <a:rPr lang="fr-FR" dirty="0" err="1">
                  <a:latin typeface="Times New Roman" panose="02020603050405020304" pitchFamily="18" charset="0"/>
                  <a:cs typeface="Times New Roman" panose="02020603050405020304" pitchFamily="18" charset="0"/>
                </a:rPr>
                <a:t>Pusine</a:t>
              </a:r>
              <a:r>
                <a:rPr lang="fr-FR" dirty="0">
                  <a:latin typeface="Times New Roman" panose="02020603050405020304" pitchFamily="18" charset="0"/>
                  <a:cs typeface="Times New Roman" panose="02020603050405020304" pitchFamily="18" charset="0"/>
                </a:rPr>
                <a:t> : production de l’usine</a:t>
              </a:r>
              <a:r>
                <a:rPr lang="fr-FR" sz="1600" dirty="0">
                  <a:latin typeface="Times New Roman" panose="02020603050405020304" pitchFamily="18" charset="0"/>
                  <a:cs typeface="Times New Roman" panose="02020603050405020304" pitchFamily="18" charset="0"/>
                </a:rPr>
                <a:t>. </a:t>
              </a:r>
            </a:p>
          </p:txBody>
        </p:sp>
      </p:grpSp>
      <p:graphicFrame>
        <p:nvGraphicFramePr>
          <p:cNvPr id="14" name="Table 13">
            <a:extLst>
              <a:ext uri="{FF2B5EF4-FFF2-40B4-BE49-F238E27FC236}">
                <a16:creationId xmlns:a16="http://schemas.microsoft.com/office/drawing/2014/main" id="{44A7FC0E-96CE-41C7-A015-43CE253F4518}"/>
              </a:ext>
            </a:extLst>
          </p:cNvPr>
          <p:cNvGraphicFramePr>
            <a:graphicFrameLocks noGrp="1"/>
          </p:cNvGraphicFramePr>
          <p:nvPr/>
        </p:nvGraphicFramePr>
        <p:xfrm>
          <a:off x="583762" y="2410936"/>
          <a:ext cx="10289878" cy="4141082"/>
        </p:xfrm>
        <a:graphic>
          <a:graphicData uri="http://schemas.openxmlformats.org/drawingml/2006/table">
            <a:tbl>
              <a:tblPr firstRow="1" firstCol="1" bandRow="1"/>
              <a:tblGrid>
                <a:gridCol w="1940566">
                  <a:extLst>
                    <a:ext uri="{9D8B030D-6E8A-4147-A177-3AD203B41FA5}">
                      <a16:colId xmlns:a16="http://schemas.microsoft.com/office/drawing/2014/main" val="4094261663"/>
                    </a:ext>
                  </a:extLst>
                </a:gridCol>
                <a:gridCol w="947005">
                  <a:extLst>
                    <a:ext uri="{9D8B030D-6E8A-4147-A177-3AD203B41FA5}">
                      <a16:colId xmlns:a16="http://schemas.microsoft.com/office/drawing/2014/main" val="4003565576"/>
                    </a:ext>
                  </a:extLst>
                </a:gridCol>
                <a:gridCol w="969714">
                  <a:extLst>
                    <a:ext uri="{9D8B030D-6E8A-4147-A177-3AD203B41FA5}">
                      <a16:colId xmlns:a16="http://schemas.microsoft.com/office/drawing/2014/main" val="1940573387"/>
                    </a:ext>
                  </a:extLst>
                </a:gridCol>
                <a:gridCol w="1136633">
                  <a:extLst>
                    <a:ext uri="{9D8B030D-6E8A-4147-A177-3AD203B41FA5}">
                      <a16:colId xmlns:a16="http://schemas.microsoft.com/office/drawing/2014/main" val="650509532"/>
                    </a:ext>
                  </a:extLst>
                </a:gridCol>
                <a:gridCol w="1353513">
                  <a:extLst>
                    <a:ext uri="{9D8B030D-6E8A-4147-A177-3AD203B41FA5}">
                      <a16:colId xmlns:a16="http://schemas.microsoft.com/office/drawing/2014/main" val="280566510"/>
                    </a:ext>
                  </a:extLst>
                </a:gridCol>
                <a:gridCol w="1353513">
                  <a:extLst>
                    <a:ext uri="{9D8B030D-6E8A-4147-A177-3AD203B41FA5}">
                      <a16:colId xmlns:a16="http://schemas.microsoft.com/office/drawing/2014/main" val="2079118956"/>
                    </a:ext>
                  </a:extLst>
                </a:gridCol>
                <a:gridCol w="1235421">
                  <a:extLst>
                    <a:ext uri="{9D8B030D-6E8A-4147-A177-3AD203B41FA5}">
                      <a16:colId xmlns:a16="http://schemas.microsoft.com/office/drawing/2014/main" val="2846775136"/>
                    </a:ext>
                  </a:extLst>
                </a:gridCol>
                <a:gridCol w="1353513">
                  <a:extLst>
                    <a:ext uri="{9D8B030D-6E8A-4147-A177-3AD203B41FA5}">
                      <a16:colId xmlns:a16="http://schemas.microsoft.com/office/drawing/2014/main" val="2793824414"/>
                    </a:ext>
                  </a:extLst>
                </a:gridCol>
              </a:tblGrid>
              <a:tr h="679021">
                <a:tc>
                  <a:txBody>
                    <a:bodyPr/>
                    <a:lstStyle/>
                    <a:p>
                      <a:pPr algn="l" fontAlgn="base">
                        <a:lnSpc>
                          <a:spcPct val="150000"/>
                        </a:lnSpc>
                        <a:spcAft>
                          <a:spcPts val="0"/>
                        </a:spcAft>
                      </a:pPr>
                      <a:r>
                        <a:rPr lang="fr-FR" sz="1200">
                          <a:effectLst/>
                          <a:latin typeface="Times New Roman" panose="02020603050405020304" pitchFamily="18" charset="0"/>
                          <a:ea typeface="Calibri" panose="020F0502020204030204" pitchFamily="34" charset="0"/>
                          <a:cs typeface="Arial" panose="020B0604020202020204" pitchFamily="34" charset="0"/>
                        </a:rPr>
                        <a:t> </a:t>
                      </a:r>
                      <a:endParaRPr lang="fr-FR"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Juil-18</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fontAlgn="base">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Août-18</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fontAlgn="base">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Sept-18</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fontAlgn="base">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Oct-18</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fontAlgn="base">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Nov-18</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fontAlgn="base">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Déc-18</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fontAlgn="base">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Janv-19</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extLst>
                  <a:ext uri="{0D108BD9-81ED-4DB2-BD59-A6C34878D82A}">
                    <a16:rowId xmlns:a16="http://schemas.microsoft.com/office/drawing/2014/main" val="225989392"/>
                  </a:ext>
                </a:extLst>
              </a:tr>
              <a:tr h="444957">
                <a:tc>
                  <a:txBody>
                    <a:bodyPr/>
                    <a:lstStyle/>
                    <a:p>
                      <a:pPr algn="ctr" fontAlgn="base">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Production usine</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fontAlgn="base">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15368</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2138</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12211</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15007</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15988</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14677</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11802</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9893449"/>
                  </a:ext>
                </a:extLst>
              </a:tr>
              <a:tr h="673047">
                <a:tc>
                  <a:txBody>
                    <a:bodyPr/>
                    <a:lstStyle/>
                    <a:p>
                      <a:pPr algn="ctr" fontAlgn="base">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Nombre des GMF défauts barre de toit</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15</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8</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10</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13</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9</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7</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11</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60626321"/>
                  </a:ext>
                </a:extLst>
              </a:tr>
              <a:tr h="673047">
                <a:tc>
                  <a:txBody>
                    <a:bodyPr/>
                    <a:lstStyle/>
                    <a:p>
                      <a:pPr algn="ctr" fontAlgn="base">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GMF BARRE DE TOIT EN K°/0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fontAlgn="base">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1,0</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3,7</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0,8</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0,9</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0,6</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0,5</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0,9</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9266753"/>
                  </a:ext>
                </a:extLst>
              </a:tr>
              <a:tr h="673047">
                <a:tc>
                  <a:txBody>
                    <a:bodyPr/>
                    <a:lstStyle/>
                    <a:p>
                      <a:pPr algn="ctr" fontAlgn="base">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GMF DE LA GAMME B52 EN K°/0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7,1</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9,0</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12,4</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6,0</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7,0</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4,1</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8,8</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6315848"/>
                  </a:ext>
                </a:extLst>
              </a:tr>
              <a:tr h="901136">
                <a:tc>
                  <a:txBody>
                    <a:bodyPr/>
                    <a:lstStyle/>
                    <a:p>
                      <a:pPr algn="ctr" fontAlgn="base">
                        <a:lnSpc>
                          <a:spcPct val="107000"/>
                        </a:lnSpc>
                        <a:spcAft>
                          <a:spcPts val="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OBJECTIF GMF POUR LA GAMME B52 EN K°/00</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B083"/>
                    </a:solidFill>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7,0</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7,0</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7,0</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7,0</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7,0</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a:effectLst/>
                          <a:latin typeface="Times New Roman" panose="02020603050405020304" pitchFamily="18" charset="0"/>
                          <a:ea typeface="Calibri" panose="020F0502020204030204" pitchFamily="34" charset="0"/>
                          <a:cs typeface="Arial" panose="020B0604020202020204" pitchFamily="34" charset="0"/>
                        </a:rPr>
                        <a:t>7,0</a:t>
                      </a:r>
                      <a:endParaRPr lang="fr-FR"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7,0</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9171146"/>
                  </a:ext>
                </a:extLst>
              </a:tr>
            </a:tbl>
          </a:graphicData>
        </a:graphic>
      </p:graphicFrame>
      <p:grpSp>
        <p:nvGrpSpPr>
          <p:cNvPr id="12" name="Groupe 11"/>
          <p:cNvGrpSpPr/>
          <p:nvPr/>
        </p:nvGrpSpPr>
        <p:grpSpPr>
          <a:xfrm>
            <a:off x="1281346" y="779704"/>
            <a:ext cx="1308010" cy="400110"/>
            <a:chOff x="2037715" y="892654"/>
            <a:chExt cx="1127024" cy="400110"/>
          </a:xfrm>
        </p:grpSpPr>
        <p:sp>
          <p:nvSpPr>
            <p:cNvPr id="44" name="ZoneTexte 43"/>
            <p:cNvSpPr txBox="1"/>
            <p:nvPr/>
          </p:nvSpPr>
          <p:spPr>
            <a:xfrm>
              <a:off x="2037715" y="892654"/>
              <a:ext cx="1127024"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Définir</a:t>
              </a:r>
            </a:p>
          </p:txBody>
        </p:sp>
        <p:cxnSp>
          <p:nvCxnSpPr>
            <p:cNvPr id="55" name="Connecteur droit 54"/>
            <p:cNvCxnSpPr/>
            <p:nvPr/>
          </p:nvCxnSpPr>
          <p:spPr>
            <a:xfrm>
              <a:off x="2264795" y="1282860"/>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3" name="Groupe 12"/>
          <p:cNvGrpSpPr/>
          <p:nvPr/>
        </p:nvGrpSpPr>
        <p:grpSpPr>
          <a:xfrm>
            <a:off x="3203343" y="779704"/>
            <a:ext cx="1440667" cy="400110"/>
            <a:chOff x="3959712" y="892654"/>
            <a:chExt cx="1241325" cy="400110"/>
          </a:xfrm>
        </p:grpSpPr>
        <p:sp>
          <p:nvSpPr>
            <p:cNvPr id="47" name="ZoneTexte 46"/>
            <p:cNvSpPr txBox="1"/>
            <p:nvPr/>
          </p:nvSpPr>
          <p:spPr>
            <a:xfrm>
              <a:off x="3959712" y="892654"/>
              <a:ext cx="1241325"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b="1" dirty="0">
                  <a:latin typeface="Lato  "/>
                </a:rPr>
                <a:t>Mesurer</a:t>
              </a:r>
            </a:p>
          </p:txBody>
        </p:sp>
        <p:cxnSp>
          <p:nvCxnSpPr>
            <p:cNvPr id="56" name="Connecteur droit 55"/>
            <p:cNvCxnSpPr/>
            <p:nvPr/>
          </p:nvCxnSpPr>
          <p:spPr>
            <a:xfrm>
              <a:off x="4176722" y="1282860"/>
              <a:ext cx="540001" cy="0"/>
            </a:xfrm>
            <a:prstGeom prst="line">
              <a:avLst/>
            </a:prstGeom>
            <a:ln w="28575">
              <a:solidFill>
                <a:srgbClr val="EE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5" name="Groupe 14"/>
          <p:cNvGrpSpPr/>
          <p:nvPr/>
        </p:nvGrpSpPr>
        <p:grpSpPr>
          <a:xfrm>
            <a:off x="5099616" y="779704"/>
            <a:ext cx="1440667" cy="400110"/>
            <a:chOff x="5855985" y="892654"/>
            <a:chExt cx="1241325" cy="400110"/>
          </a:xfrm>
        </p:grpSpPr>
        <p:sp>
          <p:nvSpPr>
            <p:cNvPr id="49" name="ZoneTexte 48"/>
            <p:cNvSpPr txBox="1"/>
            <p:nvPr/>
          </p:nvSpPr>
          <p:spPr>
            <a:xfrm>
              <a:off x="5855985" y="892654"/>
              <a:ext cx="1241325"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Analyser</a:t>
              </a:r>
            </a:p>
          </p:txBody>
        </p:sp>
        <p:cxnSp>
          <p:nvCxnSpPr>
            <p:cNvPr id="58" name="Connecteur droit 57"/>
            <p:cNvCxnSpPr/>
            <p:nvPr/>
          </p:nvCxnSpPr>
          <p:spPr>
            <a:xfrm>
              <a:off x="6047085"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Groupe 15"/>
          <p:cNvGrpSpPr/>
          <p:nvPr/>
        </p:nvGrpSpPr>
        <p:grpSpPr>
          <a:xfrm>
            <a:off x="7135914" y="779704"/>
            <a:ext cx="1561262" cy="400110"/>
            <a:chOff x="7892283" y="892654"/>
            <a:chExt cx="1345234" cy="400110"/>
          </a:xfrm>
        </p:grpSpPr>
        <p:sp>
          <p:nvSpPr>
            <p:cNvPr id="51" name="ZoneTexte 50"/>
            <p:cNvSpPr txBox="1"/>
            <p:nvPr/>
          </p:nvSpPr>
          <p:spPr>
            <a:xfrm>
              <a:off x="7892283" y="892654"/>
              <a:ext cx="1345234"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Améliorer</a:t>
              </a:r>
            </a:p>
          </p:txBody>
        </p:sp>
        <p:cxnSp>
          <p:nvCxnSpPr>
            <p:cNvPr id="60" name="Connecteur droit 59"/>
            <p:cNvCxnSpPr/>
            <p:nvPr/>
          </p:nvCxnSpPr>
          <p:spPr>
            <a:xfrm>
              <a:off x="8083704"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7" name="Groupe 56"/>
          <p:cNvGrpSpPr/>
          <p:nvPr/>
        </p:nvGrpSpPr>
        <p:grpSpPr>
          <a:xfrm>
            <a:off x="9151749" y="779704"/>
            <a:ext cx="1464786" cy="400110"/>
            <a:chOff x="9908118" y="892654"/>
            <a:chExt cx="1262107" cy="400110"/>
          </a:xfrm>
        </p:grpSpPr>
        <p:sp>
          <p:nvSpPr>
            <p:cNvPr id="53" name="ZoneTexte 52"/>
            <p:cNvSpPr txBox="1"/>
            <p:nvPr/>
          </p:nvSpPr>
          <p:spPr>
            <a:xfrm>
              <a:off x="9908118" y="892654"/>
              <a:ext cx="1262107"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Contrôler</a:t>
              </a:r>
            </a:p>
          </p:txBody>
        </p:sp>
        <p:cxnSp>
          <p:nvCxnSpPr>
            <p:cNvPr id="62" name="Connecteur droit 61"/>
            <p:cNvCxnSpPr/>
            <p:nvPr/>
          </p:nvCxnSpPr>
          <p:spPr>
            <a:xfrm>
              <a:off x="10089149"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9" name="Rectangle 58"/>
          <p:cNvSpPr/>
          <p:nvPr/>
        </p:nvSpPr>
        <p:spPr>
          <a:xfrm rot="10800000">
            <a:off x="144038" y="6315373"/>
            <a:ext cx="412293" cy="338554"/>
          </a:xfrm>
          <a:prstGeom prst="rect">
            <a:avLst/>
          </a:prstGeom>
        </p:spPr>
        <p:txBody>
          <a:bodyPr wrap="none">
            <a:spAutoFit/>
          </a:bodyPr>
          <a:lstStyle>
            <a:defPPr>
              <a:defRPr lang="en-US"/>
            </a:defPPr>
            <a:lvl1pPr marL="0" algn="l" defTabSz="914340" rtl="0" eaLnBrk="1" latinLnBrk="0" hangingPunct="1">
              <a:defRPr sz="1800" kern="1200">
                <a:solidFill>
                  <a:schemeClr val="tx1"/>
                </a:solidFill>
                <a:latin typeface="+mn-lt"/>
                <a:ea typeface="+mn-ea"/>
                <a:cs typeface="+mn-cs"/>
              </a:defRPr>
            </a:lvl1pPr>
            <a:lvl2pPr marL="457170"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1" algn="l" defTabSz="914340" rtl="0" eaLnBrk="1" latinLnBrk="0" hangingPunct="1">
              <a:defRPr sz="1800" kern="1200">
                <a:solidFill>
                  <a:schemeClr val="tx1"/>
                </a:solidFill>
                <a:latin typeface="+mn-lt"/>
                <a:ea typeface="+mn-ea"/>
                <a:cs typeface="+mn-cs"/>
              </a:defRPr>
            </a:lvl7pPr>
            <a:lvl8pPr marL="3200193"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a:lstStyle>
          <a:p>
            <a:pPr algn="ctr"/>
            <a:r>
              <a:rPr lang="en-AU" sz="1600" dirty="0">
                <a:solidFill>
                  <a:schemeClr val="bg1"/>
                </a:solidFill>
                <a:latin typeface="Lato"/>
              </a:rPr>
              <a:t>15</a:t>
            </a:r>
          </a:p>
        </p:txBody>
      </p:sp>
      <p:sp>
        <p:nvSpPr>
          <p:cNvPr id="2" name="Espace réservé du numéro de diapositive 1"/>
          <p:cNvSpPr>
            <a:spLocks noGrp="1"/>
          </p:cNvSpPr>
          <p:nvPr>
            <p:ph type="sldNum" sz="quarter" idx="12"/>
          </p:nvPr>
        </p:nvSpPr>
        <p:spPr>
          <a:xfrm>
            <a:off x="9334421" y="6288241"/>
            <a:ext cx="2743200" cy="365125"/>
          </a:xfrm>
        </p:spPr>
        <p:txBody>
          <a:bodyPr vert="horz" lIns="91440" tIns="45720" rIns="91440" bIns="45720" rtlCol="0" anchor="ctr"/>
          <a:lstStyle/>
          <a:p>
            <a:fld id="{6130CD27-AFE4-4E20-B740-5A2305B4E48B}" type="slidenum">
              <a:rPr lang="fr-FR" sz="1600">
                <a:solidFill>
                  <a:schemeClr val="bg1"/>
                </a:solidFill>
                <a:latin typeface="Lato"/>
              </a:rPr>
              <a:pPr/>
              <a:t>18</a:t>
            </a:fld>
            <a:endParaRPr lang="fr-FR" sz="1600" dirty="0">
              <a:solidFill>
                <a:schemeClr val="bg1"/>
              </a:solidFill>
              <a:latin typeface="Lato"/>
            </a:endParaRPr>
          </a:p>
        </p:txBody>
      </p:sp>
      <p:sp>
        <p:nvSpPr>
          <p:cNvPr id="78" name="ZoneTexte 53">
            <a:extLst>
              <a:ext uri="{FF2B5EF4-FFF2-40B4-BE49-F238E27FC236}">
                <a16:creationId xmlns:a16="http://schemas.microsoft.com/office/drawing/2014/main" id="{6F4450BA-9AAA-4FEE-B3C6-7629ACE48039}"/>
              </a:ext>
            </a:extLst>
          </p:cNvPr>
          <p:cNvSpPr txBox="1"/>
          <p:nvPr/>
        </p:nvSpPr>
        <p:spPr>
          <a:xfrm>
            <a:off x="390860" y="74183"/>
            <a:ext cx="1821107"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Environnement </a:t>
            </a:r>
          </a:p>
          <a:p>
            <a:r>
              <a:rPr lang="it-IT" dirty="0"/>
              <a:t>du projet</a:t>
            </a:r>
            <a:endParaRPr lang="fr-FR" dirty="0"/>
          </a:p>
        </p:txBody>
      </p:sp>
      <p:sp>
        <p:nvSpPr>
          <p:cNvPr id="91" name="ZoneTexte 54">
            <a:extLst>
              <a:ext uri="{FF2B5EF4-FFF2-40B4-BE49-F238E27FC236}">
                <a16:creationId xmlns:a16="http://schemas.microsoft.com/office/drawing/2014/main" id="{B24A9C8C-AE54-436E-9627-3001171037C2}"/>
              </a:ext>
            </a:extLst>
          </p:cNvPr>
          <p:cNvSpPr txBox="1"/>
          <p:nvPr/>
        </p:nvSpPr>
        <p:spPr>
          <a:xfrm>
            <a:off x="6433678" y="74184"/>
            <a:ext cx="1784587" cy="646331"/>
          </a:xfrm>
          <a:prstGeom prst="rect">
            <a:avLst/>
          </a:prstGeom>
          <a:solidFill>
            <a:srgbClr val="020088"/>
          </a:solidFill>
        </p:spPr>
        <p:txBody>
          <a:bodyPr wrap="square" rtlCol="0">
            <a:spAutoFit/>
          </a:bodyPr>
          <a:lstStyle>
            <a:defPPr>
              <a:defRPr lang="fr-FR"/>
            </a:defPPr>
            <a:lvl1pPr algn="ctr">
              <a:defRPr>
                <a:solidFill>
                  <a:schemeClr val="bg1"/>
                </a:solidFill>
                <a:latin typeface="Lato  "/>
              </a:defRPr>
            </a:lvl1pPr>
          </a:lstStyle>
          <a:p>
            <a:r>
              <a:rPr lang="it-IT" dirty="0"/>
              <a:t>Mise en oeuvre du projet</a:t>
            </a:r>
            <a:endParaRPr lang="fr-FR" dirty="0"/>
          </a:p>
        </p:txBody>
      </p:sp>
      <p:sp>
        <p:nvSpPr>
          <p:cNvPr id="92" name="ZoneTexte 55">
            <a:extLst>
              <a:ext uri="{FF2B5EF4-FFF2-40B4-BE49-F238E27FC236}">
                <a16:creationId xmlns:a16="http://schemas.microsoft.com/office/drawing/2014/main" id="{37F626EB-7569-4651-A107-92056F5647D1}"/>
              </a:ext>
            </a:extLst>
          </p:cNvPr>
          <p:cNvSpPr txBox="1"/>
          <p:nvPr/>
        </p:nvSpPr>
        <p:spPr>
          <a:xfrm>
            <a:off x="9319488" y="74730"/>
            <a:ext cx="1752879" cy="646331"/>
          </a:xfrm>
          <a:prstGeom prst="rect">
            <a:avLst/>
          </a:prstGeom>
          <a:solidFill>
            <a:schemeClr val="bg2"/>
          </a:solidFill>
        </p:spPr>
        <p:txBody>
          <a:bodyPr wrap="square" rtlCol="0">
            <a:spAutoFit/>
          </a:bodyPr>
          <a:lstStyle/>
          <a:p>
            <a:pPr algn="ctr"/>
            <a:r>
              <a:rPr lang="it-IT" dirty="0">
                <a:latin typeface="Lato  "/>
              </a:rPr>
              <a:t>Conclusion et</a:t>
            </a:r>
          </a:p>
          <a:p>
            <a:pPr algn="ctr"/>
            <a:r>
              <a:rPr lang="it-IT" dirty="0">
                <a:latin typeface="Lato  "/>
              </a:rPr>
              <a:t> Perspectives</a:t>
            </a:r>
            <a:endParaRPr lang="fr-FR" dirty="0">
              <a:latin typeface="Lato  "/>
            </a:endParaRPr>
          </a:p>
        </p:txBody>
      </p:sp>
      <p:cxnSp>
        <p:nvCxnSpPr>
          <p:cNvPr id="93" name="Connecteur droit 56">
            <a:extLst>
              <a:ext uri="{FF2B5EF4-FFF2-40B4-BE49-F238E27FC236}">
                <a16:creationId xmlns:a16="http://schemas.microsoft.com/office/drawing/2014/main" id="{C56F36DF-7BA7-4C08-8F04-CE88255FEA0F}"/>
              </a:ext>
            </a:extLst>
          </p:cNvPr>
          <p:cNvCxnSpPr>
            <a:cxnSpLocks/>
          </p:cNvCxnSpPr>
          <p:nvPr/>
        </p:nvCxnSpPr>
        <p:spPr>
          <a:xfrm>
            <a:off x="11077903" y="410171"/>
            <a:ext cx="793875"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94" name="Connecteur droit 57">
            <a:extLst>
              <a:ext uri="{FF2B5EF4-FFF2-40B4-BE49-F238E27FC236}">
                <a16:creationId xmlns:a16="http://schemas.microsoft.com/office/drawing/2014/main" id="{3ECE51A5-C702-40C3-A387-7D101E5CC9DC}"/>
              </a:ext>
            </a:extLst>
          </p:cNvPr>
          <p:cNvCxnSpPr>
            <a:cxnSpLocks/>
            <a:stCxn id="78" idx="3"/>
            <a:endCxn id="100" idx="1"/>
          </p:cNvCxnSpPr>
          <p:nvPr/>
        </p:nvCxnSpPr>
        <p:spPr>
          <a:xfrm>
            <a:off x="2211967" y="397349"/>
            <a:ext cx="1101223"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95" name="Connecteur droit 58">
            <a:extLst>
              <a:ext uri="{FF2B5EF4-FFF2-40B4-BE49-F238E27FC236}">
                <a16:creationId xmlns:a16="http://schemas.microsoft.com/office/drawing/2014/main" id="{4BB2F680-0AB5-4D3E-BD93-5FD34EA7EB6A}"/>
              </a:ext>
            </a:extLst>
          </p:cNvPr>
          <p:cNvCxnSpPr>
            <a:cxnSpLocks/>
            <a:stCxn id="91" idx="3"/>
            <a:endCxn id="92" idx="1"/>
          </p:cNvCxnSpPr>
          <p:nvPr/>
        </p:nvCxnSpPr>
        <p:spPr>
          <a:xfrm>
            <a:off x="8218265" y="397350"/>
            <a:ext cx="1101223" cy="546"/>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96" name="Group 3">
            <a:extLst>
              <a:ext uri="{FF2B5EF4-FFF2-40B4-BE49-F238E27FC236}">
                <a16:creationId xmlns:a16="http://schemas.microsoft.com/office/drawing/2014/main" id="{899FC0A3-EEE0-4D32-9FA3-D69351D7C30B}"/>
              </a:ext>
            </a:extLst>
          </p:cNvPr>
          <p:cNvGrpSpPr/>
          <p:nvPr/>
        </p:nvGrpSpPr>
        <p:grpSpPr>
          <a:xfrm rot="10800000">
            <a:off x="11632841" y="410171"/>
            <a:ext cx="504000" cy="6352766"/>
            <a:chOff x="-5771165" y="1295207"/>
            <a:chExt cx="504000" cy="6352766"/>
          </a:xfrm>
          <a:solidFill>
            <a:srgbClr val="020088"/>
          </a:solidFill>
        </p:grpSpPr>
        <p:cxnSp>
          <p:nvCxnSpPr>
            <p:cNvPr id="97" name="Straight Connector 9">
              <a:extLst>
                <a:ext uri="{FF2B5EF4-FFF2-40B4-BE49-F238E27FC236}">
                  <a16:creationId xmlns:a16="http://schemas.microsoft.com/office/drawing/2014/main" id="{3E3BED29-644E-48B5-AFCB-042B8EE42DC8}"/>
                </a:ext>
              </a:extLst>
            </p:cNvPr>
            <p:cNvCxnSpPr>
              <a:cxnSpLocks/>
            </p:cNvCxnSpPr>
            <p:nvPr/>
          </p:nvCxnSpPr>
          <p:spPr>
            <a:xfrm rot="10800000" flipV="1">
              <a:off x="-5506102" y="1610316"/>
              <a:ext cx="0" cy="6037657"/>
            </a:xfrm>
            <a:prstGeom prst="line">
              <a:avLst/>
            </a:prstGeom>
            <a:grpFill/>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98" name="Teardrop 38">
              <a:extLst>
                <a:ext uri="{FF2B5EF4-FFF2-40B4-BE49-F238E27FC236}">
                  <a16:creationId xmlns:a16="http://schemas.microsoft.com/office/drawing/2014/main" id="{1196F955-8D6C-41D6-9A31-AB2446601066}"/>
                </a:ext>
              </a:extLst>
            </p:cNvPr>
            <p:cNvSpPr/>
            <p:nvPr/>
          </p:nvSpPr>
          <p:spPr>
            <a:xfrm rot="8100000">
              <a:off x="-5771165" y="1295207"/>
              <a:ext cx="504000" cy="504000"/>
            </a:xfrm>
            <a:prstGeom prst="teardrop">
              <a:avLst>
                <a:gd name="adj" fmla="val 9891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dirty="0"/>
            </a:p>
          </p:txBody>
        </p:sp>
      </p:grpSp>
      <p:sp>
        <p:nvSpPr>
          <p:cNvPr id="99" name="Espace réservé du numéro de diapositive 1">
            <a:extLst>
              <a:ext uri="{FF2B5EF4-FFF2-40B4-BE49-F238E27FC236}">
                <a16:creationId xmlns:a16="http://schemas.microsoft.com/office/drawing/2014/main" id="{A1997D78-9A12-444B-A0B2-F4FD381E35A9}"/>
              </a:ext>
            </a:extLst>
          </p:cNvPr>
          <p:cNvSpPr txBox="1">
            <a:spLocks/>
          </p:cNvSpPr>
          <p:nvPr/>
        </p:nvSpPr>
        <p:spPr>
          <a:xfrm>
            <a:off x="9361851" y="6285851"/>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solidFill>
                <a:latin typeface="Lato"/>
              </a:rPr>
              <a:t>12</a:t>
            </a:r>
          </a:p>
        </p:txBody>
      </p:sp>
      <p:sp>
        <p:nvSpPr>
          <p:cNvPr id="100" name="ZoneTexte 54">
            <a:extLst>
              <a:ext uri="{FF2B5EF4-FFF2-40B4-BE49-F238E27FC236}">
                <a16:creationId xmlns:a16="http://schemas.microsoft.com/office/drawing/2014/main" id="{1EB769E5-B687-4117-8216-81780C7D7D11}"/>
              </a:ext>
            </a:extLst>
          </p:cNvPr>
          <p:cNvSpPr txBox="1"/>
          <p:nvPr/>
        </p:nvSpPr>
        <p:spPr>
          <a:xfrm>
            <a:off x="3313190" y="74184"/>
            <a:ext cx="2024481"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Contexte Général</a:t>
            </a:r>
          </a:p>
          <a:p>
            <a:r>
              <a:rPr lang="it-IT" dirty="0"/>
              <a:t> du projet</a:t>
            </a:r>
          </a:p>
        </p:txBody>
      </p:sp>
      <p:cxnSp>
        <p:nvCxnSpPr>
          <p:cNvPr id="101" name="Connecteur droit 57">
            <a:extLst>
              <a:ext uri="{FF2B5EF4-FFF2-40B4-BE49-F238E27FC236}">
                <a16:creationId xmlns:a16="http://schemas.microsoft.com/office/drawing/2014/main" id="{FD0AE152-642A-4463-8A8E-2BCD7B97F60B}"/>
              </a:ext>
            </a:extLst>
          </p:cNvPr>
          <p:cNvCxnSpPr>
            <a:cxnSpLocks/>
          </p:cNvCxnSpPr>
          <p:nvPr/>
        </p:nvCxnSpPr>
        <p:spPr>
          <a:xfrm>
            <a:off x="5337671" y="397350"/>
            <a:ext cx="1096007" cy="0"/>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52" name="ZoneTexte 64">
            <a:extLst>
              <a:ext uri="{FF2B5EF4-FFF2-40B4-BE49-F238E27FC236}">
                <a16:creationId xmlns:a16="http://schemas.microsoft.com/office/drawing/2014/main" id="{451251FE-92F0-4140-8A07-204E14EDF2F3}"/>
              </a:ext>
            </a:extLst>
          </p:cNvPr>
          <p:cNvSpPr txBox="1"/>
          <p:nvPr/>
        </p:nvSpPr>
        <p:spPr>
          <a:xfrm>
            <a:off x="144037" y="2010778"/>
            <a:ext cx="4604213"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b="1" dirty="0">
                <a:solidFill>
                  <a:srgbClr val="000000"/>
                </a:solidFill>
                <a:latin typeface="Lato  "/>
              </a:rPr>
              <a:t>2- Mesure des  indicateurs DPU et GMF</a:t>
            </a:r>
          </a:p>
        </p:txBody>
      </p:sp>
      <p:sp>
        <p:nvSpPr>
          <p:cNvPr id="54" name="ZoneTexte 65">
            <a:extLst>
              <a:ext uri="{FF2B5EF4-FFF2-40B4-BE49-F238E27FC236}">
                <a16:creationId xmlns:a16="http://schemas.microsoft.com/office/drawing/2014/main" id="{379112BA-51F3-4397-852F-1AD8C59F9D9E}"/>
              </a:ext>
            </a:extLst>
          </p:cNvPr>
          <p:cNvSpPr txBox="1"/>
          <p:nvPr/>
        </p:nvSpPr>
        <p:spPr>
          <a:xfrm>
            <a:off x="141961" y="1560117"/>
            <a:ext cx="3939959"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2">
                    <a:lumMod val="90000"/>
                  </a:schemeClr>
                </a:solidFill>
                <a:latin typeface="Lato  "/>
              </a:rPr>
              <a:t>1- Chronométrage  de  temps de retouche</a:t>
            </a:r>
          </a:p>
        </p:txBody>
      </p:sp>
      <p:graphicFrame>
        <p:nvGraphicFramePr>
          <p:cNvPr id="43" name="Chart 42">
            <a:extLst>
              <a:ext uri="{FF2B5EF4-FFF2-40B4-BE49-F238E27FC236}">
                <a16:creationId xmlns:a16="http://schemas.microsoft.com/office/drawing/2014/main" id="{99B50104-517E-4F79-A42C-5F7E4A826E41}"/>
              </a:ext>
            </a:extLst>
          </p:cNvPr>
          <p:cNvGraphicFramePr/>
          <p:nvPr/>
        </p:nvGraphicFramePr>
        <p:xfrm>
          <a:off x="1709599" y="2278335"/>
          <a:ext cx="9319791" cy="43726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23390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xit" presetSubtype="4" fill="hold" nodeType="clickEffect">
                                  <p:stCondLst>
                                    <p:cond delay="0"/>
                                  </p:stCondLst>
                                  <p:childTnLst>
                                    <p:animEffect transition="out" filter="wipe(down)">
                                      <p:cBhvr>
                                        <p:cTn id="12" dur="500"/>
                                        <p:tgtEl>
                                          <p:spTgt spid="10"/>
                                        </p:tgtEl>
                                      </p:cBhvr>
                                    </p:animEffect>
                                    <p:set>
                                      <p:cBhvr>
                                        <p:cTn id="13" dur="1" fill="hold">
                                          <p:stCondLst>
                                            <p:cond delay="499"/>
                                          </p:stCondLst>
                                        </p:cTn>
                                        <p:tgtEl>
                                          <p:spTgt spid="10"/>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14"/>
                                        </p:tgtEl>
                                        <p:attrNameLst>
                                          <p:attrName>style.visibility</p:attrName>
                                        </p:attrNameLst>
                                      </p:cBhvr>
                                      <p:to>
                                        <p:strVal val="visible"/>
                                      </p:to>
                                    </p:set>
                                    <p:anim calcmode="lin" valueType="num">
                                      <p:cBhvr additive="base">
                                        <p:cTn id="18" dur="500" fill="hold"/>
                                        <p:tgtEl>
                                          <p:spTgt spid="14"/>
                                        </p:tgtEl>
                                        <p:attrNameLst>
                                          <p:attrName>ppt_x</p:attrName>
                                        </p:attrNameLst>
                                      </p:cBhvr>
                                      <p:tavLst>
                                        <p:tav tm="0">
                                          <p:val>
                                            <p:strVal val="#ppt_x"/>
                                          </p:val>
                                        </p:tav>
                                        <p:tav tm="100000">
                                          <p:val>
                                            <p:strVal val="#ppt_x"/>
                                          </p:val>
                                        </p:tav>
                                      </p:tavLst>
                                    </p:anim>
                                    <p:anim calcmode="lin" valueType="num">
                                      <p:cBhvr additive="base">
                                        <p:cTn id="19"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2" presetClass="exit" presetSubtype="4" fill="hold" nodeType="clickEffect">
                                  <p:stCondLst>
                                    <p:cond delay="0"/>
                                  </p:stCondLst>
                                  <p:childTnLst>
                                    <p:animEffect transition="out" filter="wipe(down)">
                                      <p:cBhvr>
                                        <p:cTn id="23" dur="500"/>
                                        <p:tgtEl>
                                          <p:spTgt spid="14"/>
                                        </p:tgtEl>
                                      </p:cBhvr>
                                    </p:animEffect>
                                    <p:set>
                                      <p:cBhvr>
                                        <p:cTn id="24" dur="1" fill="hold">
                                          <p:stCondLst>
                                            <p:cond delay="499"/>
                                          </p:stCondLst>
                                        </p:cTn>
                                        <p:tgtEl>
                                          <p:spTgt spid="14"/>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grpId="0" nodeType="clickEffect">
                                  <p:stCondLst>
                                    <p:cond delay="0"/>
                                  </p:stCondLst>
                                  <p:childTnLst>
                                    <p:set>
                                      <p:cBhvr>
                                        <p:cTn id="28" dur="1" fill="hold">
                                          <p:stCondLst>
                                            <p:cond delay="0"/>
                                          </p:stCondLst>
                                        </p:cTn>
                                        <p:tgtEl>
                                          <p:spTgt spid="43"/>
                                        </p:tgtEl>
                                        <p:attrNameLst>
                                          <p:attrName>style.visibility</p:attrName>
                                        </p:attrNameLst>
                                      </p:cBhvr>
                                      <p:to>
                                        <p:strVal val="visible"/>
                                      </p:to>
                                    </p:set>
                                    <p:anim calcmode="lin" valueType="num">
                                      <p:cBhvr additive="base">
                                        <p:cTn id="29" dur="500" fill="hold"/>
                                        <p:tgtEl>
                                          <p:spTgt spid="43"/>
                                        </p:tgtEl>
                                        <p:attrNameLst>
                                          <p:attrName>ppt_x</p:attrName>
                                        </p:attrNameLst>
                                      </p:cBhvr>
                                      <p:tavLst>
                                        <p:tav tm="0">
                                          <p:val>
                                            <p:strVal val="0-#ppt_w/2"/>
                                          </p:val>
                                        </p:tav>
                                        <p:tav tm="100000">
                                          <p:val>
                                            <p:strVal val="#ppt_x"/>
                                          </p:val>
                                        </p:tav>
                                      </p:tavLst>
                                    </p:anim>
                                    <p:anim calcmode="lin" valueType="num">
                                      <p:cBhvr additive="base">
                                        <p:cTn id="30" dur="500" fill="hold"/>
                                        <p:tgtEl>
                                          <p:spTgt spid="4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3" grpId="0">
        <p:bldAsOne/>
      </p:bldGraphic>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p:cNvSpPr/>
          <p:nvPr/>
        </p:nvSpPr>
        <p:spPr>
          <a:xfrm rot="10800000">
            <a:off x="144038" y="6315373"/>
            <a:ext cx="412293" cy="338554"/>
          </a:xfrm>
          <a:prstGeom prst="rect">
            <a:avLst/>
          </a:prstGeom>
        </p:spPr>
        <p:txBody>
          <a:bodyPr wrap="none">
            <a:spAutoFit/>
          </a:bodyPr>
          <a:lstStyle>
            <a:defPPr>
              <a:defRPr lang="en-US"/>
            </a:defPPr>
            <a:lvl1pPr marL="0" algn="l" defTabSz="914340" rtl="0" eaLnBrk="1" latinLnBrk="0" hangingPunct="1">
              <a:defRPr sz="1800" kern="1200">
                <a:solidFill>
                  <a:schemeClr val="tx1"/>
                </a:solidFill>
                <a:latin typeface="+mn-lt"/>
                <a:ea typeface="+mn-ea"/>
                <a:cs typeface="+mn-cs"/>
              </a:defRPr>
            </a:lvl1pPr>
            <a:lvl2pPr marL="457170"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1" algn="l" defTabSz="914340" rtl="0" eaLnBrk="1" latinLnBrk="0" hangingPunct="1">
              <a:defRPr sz="1800" kern="1200">
                <a:solidFill>
                  <a:schemeClr val="tx1"/>
                </a:solidFill>
                <a:latin typeface="+mn-lt"/>
                <a:ea typeface="+mn-ea"/>
                <a:cs typeface="+mn-cs"/>
              </a:defRPr>
            </a:lvl7pPr>
            <a:lvl8pPr marL="3200193"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a:lstStyle>
          <a:p>
            <a:pPr algn="ctr"/>
            <a:r>
              <a:rPr lang="en-AU" sz="1600" dirty="0">
                <a:solidFill>
                  <a:schemeClr val="bg1"/>
                </a:solidFill>
                <a:latin typeface="Lato"/>
              </a:rPr>
              <a:t>15</a:t>
            </a:r>
          </a:p>
        </p:txBody>
      </p:sp>
      <p:sp>
        <p:nvSpPr>
          <p:cNvPr id="2" name="Espace réservé du numéro de diapositive 1"/>
          <p:cNvSpPr>
            <a:spLocks noGrp="1"/>
          </p:cNvSpPr>
          <p:nvPr>
            <p:ph type="sldNum" sz="quarter" idx="12"/>
          </p:nvPr>
        </p:nvSpPr>
        <p:spPr>
          <a:xfrm>
            <a:off x="9334421" y="6288241"/>
            <a:ext cx="2743200" cy="365125"/>
          </a:xfrm>
        </p:spPr>
        <p:txBody>
          <a:bodyPr vert="horz" lIns="91440" tIns="45720" rIns="91440" bIns="45720" rtlCol="0" anchor="ctr"/>
          <a:lstStyle/>
          <a:p>
            <a:fld id="{6130CD27-AFE4-4E20-B740-5A2305B4E48B}" type="slidenum">
              <a:rPr lang="fr-FR" sz="1600">
                <a:solidFill>
                  <a:schemeClr val="bg1"/>
                </a:solidFill>
                <a:latin typeface="Lato"/>
              </a:rPr>
              <a:pPr/>
              <a:t>19</a:t>
            </a:fld>
            <a:endParaRPr lang="fr-FR" sz="1600" dirty="0">
              <a:solidFill>
                <a:schemeClr val="bg1"/>
              </a:solidFill>
              <a:latin typeface="Lato"/>
            </a:endParaRPr>
          </a:p>
        </p:txBody>
      </p:sp>
      <p:sp>
        <p:nvSpPr>
          <p:cNvPr id="99" name="Espace réservé du numéro de diapositive 1">
            <a:extLst>
              <a:ext uri="{FF2B5EF4-FFF2-40B4-BE49-F238E27FC236}">
                <a16:creationId xmlns:a16="http://schemas.microsoft.com/office/drawing/2014/main" id="{A1997D78-9A12-444B-A0B2-F4FD381E35A9}"/>
              </a:ext>
            </a:extLst>
          </p:cNvPr>
          <p:cNvSpPr txBox="1">
            <a:spLocks/>
          </p:cNvSpPr>
          <p:nvPr/>
        </p:nvSpPr>
        <p:spPr>
          <a:xfrm>
            <a:off x="9351848" y="6300190"/>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solidFill>
                <a:latin typeface="Lato"/>
              </a:rPr>
              <a:t>13</a:t>
            </a:r>
          </a:p>
        </p:txBody>
      </p:sp>
      <p:grpSp>
        <p:nvGrpSpPr>
          <p:cNvPr id="125" name="Group 124">
            <a:extLst>
              <a:ext uri="{FF2B5EF4-FFF2-40B4-BE49-F238E27FC236}">
                <a16:creationId xmlns:a16="http://schemas.microsoft.com/office/drawing/2014/main" id="{50AFE7B3-56A7-4C4D-A7CB-1B975EF10238}"/>
              </a:ext>
            </a:extLst>
          </p:cNvPr>
          <p:cNvGrpSpPr/>
          <p:nvPr/>
        </p:nvGrpSpPr>
        <p:grpSpPr>
          <a:xfrm>
            <a:off x="350184" y="347366"/>
            <a:ext cx="11727436" cy="5621634"/>
            <a:chOff x="269798" y="1094461"/>
            <a:chExt cx="11727436" cy="5621634"/>
          </a:xfrm>
        </p:grpSpPr>
        <p:grpSp>
          <p:nvGrpSpPr>
            <p:cNvPr id="119" name="Group 118">
              <a:extLst>
                <a:ext uri="{FF2B5EF4-FFF2-40B4-BE49-F238E27FC236}">
                  <a16:creationId xmlns:a16="http://schemas.microsoft.com/office/drawing/2014/main" id="{AD3CAD85-EB4A-4BD5-A45A-8A0BA2167437}"/>
                </a:ext>
              </a:extLst>
            </p:cNvPr>
            <p:cNvGrpSpPr/>
            <p:nvPr/>
          </p:nvGrpSpPr>
          <p:grpSpPr>
            <a:xfrm>
              <a:off x="269798" y="1094461"/>
              <a:ext cx="11727436" cy="5621634"/>
              <a:chOff x="269798" y="1094461"/>
              <a:chExt cx="11727436" cy="5621634"/>
            </a:xfrm>
          </p:grpSpPr>
          <p:grpSp>
            <p:nvGrpSpPr>
              <p:cNvPr id="35" name="Group 34">
                <a:extLst>
                  <a:ext uri="{FF2B5EF4-FFF2-40B4-BE49-F238E27FC236}">
                    <a16:creationId xmlns:a16="http://schemas.microsoft.com/office/drawing/2014/main" id="{67EF4C2D-2E06-4EB6-8194-1BEFC351CC94}"/>
                  </a:ext>
                </a:extLst>
              </p:cNvPr>
              <p:cNvGrpSpPr/>
              <p:nvPr/>
            </p:nvGrpSpPr>
            <p:grpSpPr>
              <a:xfrm>
                <a:off x="269798" y="1094461"/>
                <a:ext cx="11727436" cy="5621634"/>
                <a:chOff x="173303" y="78947"/>
                <a:chExt cx="11722554" cy="6666673"/>
              </a:xfrm>
            </p:grpSpPr>
            <p:cxnSp>
              <p:nvCxnSpPr>
                <p:cNvPr id="38" name="Straight Arrow Connector 37">
                  <a:extLst>
                    <a:ext uri="{FF2B5EF4-FFF2-40B4-BE49-F238E27FC236}">
                      <a16:creationId xmlns:a16="http://schemas.microsoft.com/office/drawing/2014/main" id="{067E5E2C-4B2E-461C-AB75-74030E23256D}"/>
                    </a:ext>
                  </a:extLst>
                </p:cNvPr>
                <p:cNvCxnSpPr>
                  <a:cxnSpLocks/>
                </p:cNvCxnSpPr>
                <p:nvPr/>
              </p:nvCxnSpPr>
              <p:spPr>
                <a:xfrm flipV="1">
                  <a:off x="190156" y="3567277"/>
                  <a:ext cx="9805758" cy="62941"/>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39" name="Straight Arrow Connector 38">
                  <a:extLst>
                    <a:ext uri="{FF2B5EF4-FFF2-40B4-BE49-F238E27FC236}">
                      <a16:creationId xmlns:a16="http://schemas.microsoft.com/office/drawing/2014/main" id="{AFC7B00B-8E7B-4690-AEF8-B2829D4F77F2}"/>
                    </a:ext>
                  </a:extLst>
                </p:cNvPr>
                <p:cNvCxnSpPr>
                  <a:cxnSpLocks/>
                  <a:stCxn id="43" idx="2"/>
                </p:cNvCxnSpPr>
                <p:nvPr/>
              </p:nvCxnSpPr>
              <p:spPr>
                <a:xfrm>
                  <a:off x="2438857" y="529307"/>
                  <a:ext cx="1244315" cy="3080016"/>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40" name="Straight Arrow Connector 39">
                  <a:extLst>
                    <a:ext uri="{FF2B5EF4-FFF2-40B4-BE49-F238E27FC236}">
                      <a16:creationId xmlns:a16="http://schemas.microsoft.com/office/drawing/2014/main" id="{290FC7B2-9B45-493E-B2DE-2E6200252D8B}"/>
                    </a:ext>
                  </a:extLst>
                </p:cNvPr>
                <p:cNvCxnSpPr>
                  <a:cxnSpLocks/>
                </p:cNvCxnSpPr>
                <p:nvPr/>
              </p:nvCxnSpPr>
              <p:spPr>
                <a:xfrm>
                  <a:off x="6225769" y="509055"/>
                  <a:ext cx="920937" cy="3130017"/>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41" name="Straight Arrow Connector 40">
                  <a:extLst>
                    <a:ext uri="{FF2B5EF4-FFF2-40B4-BE49-F238E27FC236}">
                      <a16:creationId xmlns:a16="http://schemas.microsoft.com/office/drawing/2014/main" id="{A6E238A7-B9CB-46A5-B73F-A2FA2DDDC154}"/>
                    </a:ext>
                  </a:extLst>
                </p:cNvPr>
                <p:cNvCxnSpPr>
                  <a:cxnSpLocks/>
                  <a:stCxn id="48" idx="0"/>
                </p:cNvCxnSpPr>
                <p:nvPr/>
              </p:nvCxnSpPr>
              <p:spPr>
                <a:xfrm flipV="1">
                  <a:off x="3638007" y="3603009"/>
                  <a:ext cx="1331181" cy="2773279"/>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42" name="Straight Arrow Connector 41">
                  <a:extLst>
                    <a:ext uri="{FF2B5EF4-FFF2-40B4-BE49-F238E27FC236}">
                      <a16:creationId xmlns:a16="http://schemas.microsoft.com/office/drawing/2014/main" id="{D092A291-E219-4D5A-A592-65F04231377F}"/>
                    </a:ext>
                  </a:extLst>
                </p:cNvPr>
                <p:cNvCxnSpPr>
                  <a:cxnSpLocks/>
                  <a:stCxn id="50" idx="0"/>
                </p:cNvCxnSpPr>
                <p:nvPr/>
              </p:nvCxnSpPr>
              <p:spPr>
                <a:xfrm flipV="1">
                  <a:off x="7279154" y="3603009"/>
                  <a:ext cx="1448516" cy="275334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43" name="TextBox 42">
                  <a:extLst>
                    <a:ext uri="{FF2B5EF4-FFF2-40B4-BE49-F238E27FC236}">
                      <a16:creationId xmlns:a16="http://schemas.microsoft.com/office/drawing/2014/main" id="{18411848-A416-448F-9C53-A3468C69AC53}"/>
                    </a:ext>
                  </a:extLst>
                </p:cNvPr>
                <p:cNvSpPr txBox="1"/>
                <p:nvPr/>
              </p:nvSpPr>
              <p:spPr>
                <a:xfrm>
                  <a:off x="1850381" y="159975"/>
                  <a:ext cx="1176951" cy="369332"/>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b="1" dirty="0">
                      <a:solidFill>
                        <a:schemeClr val="tx1"/>
                      </a:solidFill>
                      <a:latin typeface="Times New Roman" panose="02020603050405020304" pitchFamily="18" charset="0"/>
                      <a:cs typeface="Times New Roman" panose="02020603050405020304" pitchFamily="18" charset="0"/>
                    </a:rPr>
                    <a:t>Méthodes</a:t>
                  </a:r>
                </a:p>
              </p:txBody>
            </p:sp>
            <p:sp>
              <p:nvSpPr>
                <p:cNvPr id="45" name="TextBox 44">
                  <a:extLst>
                    <a:ext uri="{FF2B5EF4-FFF2-40B4-BE49-F238E27FC236}">
                      <a16:creationId xmlns:a16="http://schemas.microsoft.com/office/drawing/2014/main" id="{9EEA1308-CF7E-40B9-AB7E-33F0F2655F1B}"/>
                    </a:ext>
                  </a:extLst>
                </p:cNvPr>
                <p:cNvSpPr txBox="1"/>
                <p:nvPr/>
              </p:nvSpPr>
              <p:spPr>
                <a:xfrm>
                  <a:off x="5553335" y="78947"/>
                  <a:ext cx="1176951" cy="369332"/>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b="1" dirty="0">
                      <a:solidFill>
                        <a:schemeClr val="tx1"/>
                      </a:solidFill>
                      <a:latin typeface="Times New Roman" panose="02020603050405020304" pitchFamily="18" charset="0"/>
                      <a:cs typeface="Times New Roman" panose="02020603050405020304" pitchFamily="18" charset="0"/>
                    </a:rPr>
                    <a:t>Moyens</a:t>
                  </a:r>
                </a:p>
              </p:txBody>
            </p:sp>
            <p:sp>
              <p:nvSpPr>
                <p:cNvPr id="46" name="TextBox 45">
                  <a:extLst>
                    <a:ext uri="{FF2B5EF4-FFF2-40B4-BE49-F238E27FC236}">
                      <a16:creationId xmlns:a16="http://schemas.microsoft.com/office/drawing/2014/main" id="{EBFF626C-F52C-4023-99CB-E07BB0E7ECBC}"/>
                    </a:ext>
                  </a:extLst>
                </p:cNvPr>
                <p:cNvSpPr txBox="1"/>
                <p:nvPr/>
              </p:nvSpPr>
              <p:spPr>
                <a:xfrm>
                  <a:off x="483929" y="6376288"/>
                  <a:ext cx="1176951" cy="369332"/>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b="1" dirty="0">
                      <a:solidFill>
                        <a:schemeClr val="tx1"/>
                      </a:solidFill>
                      <a:latin typeface="Times New Roman" panose="02020603050405020304" pitchFamily="18" charset="0"/>
                      <a:cs typeface="Times New Roman" panose="02020603050405020304" pitchFamily="18" charset="0"/>
                    </a:rPr>
                    <a:t>Matière</a:t>
                  </a:r>
                </a:p>
              </p:txBody>
            </p:sp>
            <p:sp>
              <p:nvSpPr>
                <p:cNvPr id="48" name="TextBox 47">
                  <a:extLst>
                    <a:ext uri="{FF2B5EF4-FFF2-40B4-BE49-F238E27FC236}">
                      <a16:creationId xmlns:a16="http://schemas.microsoft.com/office/drawing/2014/main" id="{BA0F99AE-F8E5-4C9C-9DD1-9CD0D7DC5E12}"/>
                    </a:ext>
                  </a:extLst>
                </p:cNvPr>
                <p:cNvSpPr txBox="1"/>
                <p:nvPr/>
              </p:nvSpPr>
              <p:spPr>
                <a:xfrm>
                  <a:off x="3049531" y="6376288"/>
                  <a:ext cx="1176951" cy="369332"/>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b="1" dirty="0">
                      <a:solidFill>
                        <a:schemeClr val="tx1"/>
                      </a:solidFill>
                      <a:latin typeface="Times New Roman" panose="02020603050405020304" pitchFamily="18" charset="0"/>
                      <a:cs typeface="Times New Roman" panose="02020603050405020304" pitchFamily="18" charset="0"/>
                    </a:rPr>
                    <a:t>Milieu</a:t>
                  </a:r>
                </a:p>
              </p:txBody>
            </p:sp>
            <p:sp>
              <p:nvSpPr>
                <p:cNvPr id="50" name="TextBox 49">
                  <a:extLst>
                    <a:ext uri="{FF2B5EF4-FFF2-40B4-BE49-F238E27FC236}">
                      <a16:creationId xmlns:a16="http://schemas.microsoft.com/office/drawing/2014/main" id="{DD492693-8F7A-4307-A60B-4E232AD876F3}"/>
                    </a:ext>
                  </a:extLst>
                </p:cNvPr>
                <p:cNvSpPr txBox="1"/>
                <p:nvPr/>
              </p:nvSpPr>
              <p:spPr>
                <a:xfrm>
                  <a:off x="6451503" y="6356349"/>
                  <a:ext cx="1655301" cy="369332"/>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b="1" dirty="0">
                      <a:solidFill>
                        <a:schemeClr val="tx1"/>
                      </a:solidFill>
                      <a:latin typeface="Times New Roman" panose="02020603050405020304" pitchFamily="18" charset="0"/>
                      <a:cs typeface="Times New Roman" panose="02020603050405020304" pitchFamily="18" charset="0"/>
                    </a:rPr>
                    <a:t>Main d'œuvre</a:t>
                  </a:r>
                </a:p>
              </p:txBody>
            </p:sp>
            <p:sp>
              <p:nvSpPr>
                <p:cNvPr id="61" name="TextBox 60">
                  <a:extLst>
                    <a:ext uri="{FF2B5EF4-FFF2-40B4-BE49-F238E27FC236}">
                      <a16:creationId xmlns:a16="http://schemas.microsoft.com/office/drawing/2014/main" id="{22F05EA6-8666-4C4D-86B8-C1D8E43FD23E}"/>
                    </a:ext>
                  </a:extLst>
                </p:cNvPr>
                <p:cNvSpPr txBox="1"/>
                <p:nvPr/>
              </p:nvSpPr>
              <p:spPr>
                <a:xfrm>
                  <a:off x="10040753" y="3245256"/>
                  <a:ext cx="1855104" cy="693482"/>
                </a:xfrm>
                <a:prstGeom prst="rect">
                  <a:avLst/>
                </a:prstGeom>
                <a:solidFill>
                  <a:schemeClr val="accent2">
                    <a:lumMod val="60000"/>
                    <a:lumOff val="40000"/>
                  </a:schemeClr>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fr-FR" sz="1600" b="1" dirty="0">
                      <a:solidFill>
                        <a:schemeClr val="tx1"/>
                      </a:solidFill>
                      <a:latin typeface="Times New Roman" panose="02020603050405020304" pitchFamily="18" charset="0"/>
                      <a:cs typeface="Times New Roman" panose="02020603050405020304" pitchFamily="18" charset="0"/>
                    </a:rPr>
                    <a:t>Manque de la formation pratique</a:t>
                  </a:r>
                </a:p>
              </p:txBody>
            </p:sp>
            <p:sp>
              <p:nvSpPr>
                <p:cNvPr id="63" name="Rectangle 62">
                  <a:extLst>
                    <a:ext uri="{FF2B5EF4-FFF2-40B4-BE49-F238E27FC236}">
                      <a16:creationId xmlns:a16="http://schemas.microsoft.com/office/drawing/2014/main" id="{04E66774-6A35-49DF-B1DB-432653D27F51}"/>
                    </a:ext>
                  </a:extLst>
                </p:cNvPr>
                <p:cNvSpPr/>
                <p:nvPr/>
              </p:nvSpPr>
              <p:spPr>
                <a:xfrm>
                  <a:off x="190156" y="825147"/>
                  <a:ext cx="1939225" cy="64725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200" b="1" i="0" dirty="0">
                      <a:solidFill>
                        <a:srgbClr val="0D0D0D"/>
                      </a:solidFill>
                      <a:effectLst/>
                      <a:latin typeface="Times New Roman" panose="02020603050405020304" pitchFamily="18" charset="0"/>
                      <a:cs typeface="Times New Roman" panose="02020603050405020304" pitchFamily="18" charset="0"/>
                    </a:rPr>
                    <a:t>Processus de planification des formations</a:t>
                  </a:r>
                  <a:endParaRPr lang="fr-FR" sz="1200" b="1" dirty="0">
                    <a:latin typeface="Times New Roman" panose="02020603050405020304" pitchFamily="18" charset="0"/>
                    <a:cs typeface="Times New Roman" panose="02020603050405020304" pitchFamily="18" charset="0"/>
                  </a:endParaRPr>
                </a:p>
              </p:txBody>
            </p:sp>
            <p:sp>
              <p:nvSpPr>
                <p:cNvPr id="65" name="Rectangle 64">
                  <a:extLst>
                    <a:ext uri="{FF2B5EF4-FFF2-40B4-BE49-F238E27FC236}">
                      <a16:creationId xmlns:a16="http://schemas.microsoft.com/office/drawing/2014/main" id="{F5EBB656-C216-464E-8887-D4585E47B59D}"/>
                    </a:ext>
                  </a:extLst>
                </p:cNvPr>
                <p:cNvSpPr/>
                <p:nvPr/>
              </p:nvSpPr>
              <p:spPr>
                <a:xfrm>
                  <a:off x="173303" y="1995476"/>
                  <a:ext cx="2110817" cy="1130528"/>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200" b="1" i="0" dirty="0">
                      <a:solidFill>
                        <a:srgbClr val="0D0D0D"/>
                      </a:solidFill>
                      <a:effectLst/>
                      <a:latin typeface="Times New Roman" panose="02020603050405020304" pitchFamily="18" charset="0"/>
                      <a:cs typeface="Times New Roman" panose="02020603050405020304" pitchFamily="18" charset="0"/>
                    </a:rPr>
                    <a:t>Manque d'évaluation et de suivi après accomplissement des formations</a:t>
                  </a:r>
                  <a:endParaRPr lang="fr-FR" sz="1200" b="1" dirty="0">
                    <a:solidFill>
                      <a:srgbClr val="FF0000"/>
                    </a:solidFill>
                    <a:latin typeface="Times New Roman" panose="02020603050405020304" pitchFamily="18" charset="0"/>
                    <a:cs typeface="Times New Roman" panose="02020603050405020304" pitchFamily="18" charset="0"/>
                  </a:endParaRPr>
                </a:p>
              </p:txBody>
            </p:sp>
            <p:cxnSp>
              <p:nvCxnSpPr>
                <p:cNvPr id="67" name="Straight Arrow Connector 66">
                  <a:extLst>
                    <a:ext uri="{FF2B5EF4-FFF2-40B4-BE49-F238E27FC236}">
                      <a16:creationId xmlns:a16="http://schemas.microsoft.com/office/drawing/2014/main" id="{DDB5D68F-D058-46B7-AAE2-693DD0CBA663}"/>
                    </a:ext>
                  </a:extLst>
                </p:cNvPr>
                <p:cNvCxnSpPr>
                  <a:cxnSpLocks/>
                  <a:stCxn id="63" idx="3"/>
                </p:cNvCxnSpPr>
                <p:nvPr/>
              </p:nvCxnSpPr>
              <p:spPr>
                <a:xfrm>
                  <a:off x="2129381" y="1148773"/>
                  <a:ext cx="53566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9" name="Straight Arrow Connector 68">
                  <a:extLst>
                    <a:ext uri="{FF2B5EF4-FFF2-40B4-BE49-F238E27FC236}">
                      <a16:creationId xmlns:a16="http://schemas.microsoft.com/office/drawing/2014/main" id="{EFB5C6D5-B88A-4E06-847E-B5B906B90579}"/>
                    </a:ext>
                  </a:extLst>
                </p:cNvPr>
                <p:cNvCxnSpPr>
                  <a:cxnSpLocks/>
                </p:cNvCxnSpPr>
                <p:nvPr/>
              </p:nvCxnSpPr>
              <p:spPr>
                <a:xfrm>
                  <a:off x="2284120" y="2643305"/>
                  <a:ext cx="98073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1" name="Rectangle 70">
                  <a:extLst>
                    <a:ext uri="{FF2B5EF4-FFF2-40B4-BE49-F238E27FC236}">
                      <a16:creationId xmlns:a16="http://schemas.microsoft.com/office/drawing/2014/main" id="{D445658A-ECEB-4B91-A2F7-54D452C9B36D}"/>
                    </a:ext>
                  </a:extLst>
                </p:cNvPr>
                <p:cNvSpPr/>
                <p:nvPr/>
              </p:nvSpPr>
              <p:spPr>
                <a:xfrm>
                  <a:off x="3481142" y="1487967"/>
                  <a:ext cx="2156495" cy="87706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200" b="1" i="0" dirty="0">
                      <a:solidFill>
                        <a:srgbClr val="0D0D0D"/>
                      </a:solidFill>
                      <a:effectLst/>
                      <a:latin typeface="Times New Roman" panose="02020603050405020304" pitchFamily="18" charset="0"/>
                      <a:cs typeface="Times New Roman" panose="02020603050405020304" pitchFamily="18" charset="0"/>
                    </a:rPr>
                    <a:t>Absence d'une organisation efficace des sessions de formation</a:t>
                  </a:r>
                  <a:endParaRPr lang="fr-FR" sz="1200" b="1" dirty="0">
                    <a:latin typeface="Times New Roman" panose="02020603050405020304" pitchFamily="18" charset="0"/>
                    <a:cs typeface="Times New Roman" panose="02020603050405020304" pitchFamily="18" charset="0"/>
                  </a:endParaRPr>
                </a:p>
              </p:txBody>
            </p:sp>
            <p:cxnSp>
              <p:nvCxnSpPr>
                <p:cNvPr id="72" name="Straight Arrow Connector 71">
                  <a:extLst>
                    <a:ext uri="{FF2B5EF4-FFF2-40B4-BE49-F238E27FC236}">
                      <a16:creationId xmlns:a16="http://schemas.microsoft.com/office/drawing/2014/main" id="{6788FA18-BFC9-4E73-8D03-7F89700F7584}"/>
                    </a:ext>
                  </a:extLst>
                </p:cNvPr>
                <p:cNvCxnSpPr>
                  <a:cxnSpLocks/>
                </p:cNvCxnSpPr>
                <p:nvPr/>
              </p:nvCxnSpPr>
              <p:spPr>
                <a:xfrm flipH="1">
                  <a:off x="2958111" y="1898259"/>
                  <a:ext cx="48637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0" name="Rectangle 79">
                  <a:extLst>
                    <a:ext uri="{FF2B5EF4-FFF2-40B4-BE49-F238E27FC236}">
                      <a16:creationId xmlns:a16="http://schemas.microsoft.com/office/drawing/2014/main" id="{EFB1A518-CFEB-4612-A839-7DD3C8E2E436}"/>
                    </a:ext>
                  </a:extLst>
                </p:cNvPr>
                <p:cNvSpPr/>
                <p:nvPr/>
              </p:nvSpPr>
              <p:spPr>
                <a:xfrm>
                  <a:off x="8054333" y="689604"/>
                  <a:ext cx="1910868" cy="83719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200" b="1" i="0" dirty="0">
                      <a:solidFill>
                        <a:srgbClr val="0D0D0D"/>
                      </a:solidFill>
                      <a:effectLst/>
                      <a:latin typeface="Times New Roman" panose="02020603050405020304" pitchFamily="18" charset="0"/>
                      <a:cs typeface="Times New Roman" panose="02020603050405020304" pitchFamily="18" charset="0"/>
                    </a:rPr>
                    <a:t>Manque des quiz et tests pratiques</a:t>
                  </a:r>
                  <a:endParaRPr lang="fr-FR" sz="1200" b="1" dirty="0">
                    <a:solidFill>
                      <a:srgbClr val="FF0000"/>
                    </a:solidFill>
                    <a:latin typeface="Times New Roman" panose="02020603050405020304" pitchFamily="18" charset="0"/>
                    <a:cs typeface="Times New Roman" panose="02020603050405020304" pitchFamily="18" charset="0"/>
                  </a:endParaRPr>
                </a:p>
              </p:txBody>
            </p:sp>
            <p:cxnSp>
              <p:nvCxnSpPr>
                <p:cNvPr id="81" name="Straight Arrow Connector 80">
                  <a:extLst>
                    <a:ext uri="{FF2B5EF4-FFF2-40B4-BE49-F238E27FC236}">
                      <a16:creationId xmlns:a16="http://schemas.microsoft.com/office/drawing/2014/main" id="{41CAF9B1-B80F-4B66-8064-5DE6ED415CE7}"/>
                    </a:ext>
                  </a:extLst>
                </p:cNvPr>
                <p:cNvCxnSpPr>
                  <a:cxnSpLocks/>
                  <a:stCxn id="80" idx="1"/>
                </p:cNvCxnSpPr>
                <p:nvPr/>
              </p:nvCxnSpPr>
              <p:spPr>
                <a:xfrm flipH="1">
                  <a:off x="6451503" y="1108203"/>
                  <a:ext cx="1602830" cy="139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3" name="Straight Arrow Connector 82">
                  <a:extLst>
                    <a:ext uri="{FF2B5EF4-FFF2-40B4-BE49-F238E27FC236}">
                      <a16:creationId xmlns:a16="http://schemas.microsoft.com/office/drawing/2014/main" id="{D4A0E2DA-99B3-471B-94B6-1B1493E8C7EF}"/>
                    </a:ext>
                  </a:extLst>
                </p:cNvPr>
                <p:cNvCxnSpPr>
                  <a:cxnSpLocks/>
                  <a:stCxn id="123" idx="1"/>
                </p:cNvCxnSpPr>
                <p:nvPr/>
              </p:nvCxnSpPr>
              <p:spPr>
                <a:xfrm flipH="1">
                  <a:off x="6795056" y="2419881"/>
                  <a:ext cx="1414976" cy="1763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6" name="Straight Arrow Connector 85">
                  <a:extLst>
                    <a:ext uri="{FF2B5EF4-FFF2-40B4-BE49-F238E27FC236}">
                      <a16:creationId xmlns:a16="http://schemas.microsoft.com/office/drawing/2014/main" id="{8706B3C9-C332-47FA-A3C7-0CC9D7779E58}"/>
                    </a:ext>
                  </a:extLst>
                </p:cNvPr>
                <p:cNvCxnSpPr>
                  <a:cxnSpLocks/>
                </p:cNvCxnSpPr>
                <p:nvPr/>
              </p:nvCxnSpPr>
              <p:spPr>
                <a:xfrm flipV="1">
                  <a:off x="1067142" y="3622948"/>
                  <a:ext cx="1339672" cy="275334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3" name="Straight Arrow Connector 102">
                  <a:extLst>
                    <a:ext uri="{FF2B5EF4-FFF2-40B4-BE49-F238E27FC236}">
                      <a16:creationId xmlns:a16="http://schemas.microsoft.com/office/drawing/2014/main" id="{79C5D97C-2E81-4B5A-A0BE-CBC1E38361A4}"/>
                    </a:ext>
                  </a:extLst>
                </p:cNvPr>
                <p:cNvCxnSpPr>
                  <a:cxnSpLocks/>
                </p:cNvCxnSpPr>
                <p:nvPr/>
              </p:nvCxnSpPr>
              <p:spPr>
                <a:xfrm flipH="1">
                  <a:off x="8003411" y="5073599"/>
                  <a:ext cx="117490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6" name="Rectangle 105">
                  <a:extLst>
                    <a:ext uri="{FF2B5EF4-FFF2-40B4-BE49-F238E27FC236}">
                      <a16:creationId xmlns:a16="http://schemas.microsoft.com/office/drawing/2014/main" id="{33496B9F-1993-4F5E-A290-CA6C77ABE25C}"/>
                    </a:ext>
                  </a:extLst>
                </p:cNvPr>
                <p:cNvSpPr/>
                <p:nvPr/>
              </p:nvSpPr>
              <p:spPr>
                <a:xfrm>
                  <a:off x="197034" y="3802475"/>
                  <a:ext cx="1454771" cy="1232486"/>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400" b="1" i="0" dirty="0">
                      <a:solidFill>
                        <a:srgbClr val="0D0D0D"/>
                      </a:solidFill>
                      <a:effectLst/>
                      <a:latin typeface="Times New Roman" panose="02020603050405020304" pitchFamily="18" charset="0"/>
                      <a:cs typeface="Times New Roman" panose="02020603050405020304" pitchFamily="18" charset="0"/>
                    </a:rPr>
                    <a:t>Le contenu des formations manque de praticité</a:t>
                  </a:r>
                  <a:endParaRPr lang="fr-FR" sz="1400" b="1" dirty="0">
                    <a:solidFill>
                      <a:srgbClr val="FF0000"/>
                    </a:solidFill>
                    <a:latin typeface="Times New Roman" panose="02020603050405020304" pitchFamily="18" charset="0"/>
                    <a:cs typeface="Times New Roman" panose="02020603050405020304" pitchFamily="18" charset="0"/>
                  </a:endParaRPr>
                </a:p>
              </p:txBody>
            </p:sp>
            <p:cxnSp>
              <p:nvCxnSpPr>
                <p:cNvPr id="111" name="Straight Arrow Connector 110">
                  <a:extLst>
                    <a:ext uri="{FF2B5EF4-FFF2-40B4-BE49-F238E27FC236}">
                      <a16:creationId xmlns:a16="http://schemas.microsoft.com/office/drawing/2014/main" id="{A752A21B-D306-400F-8A69-305BC509C640}"/>
                    </a:ext>
                  </a:extLst>
                </p:cNvPr>
                <p:cNvCxnSpPr>
                  <a:cxnSpLocks/>
                </p:cNvCxnSpPr>
                <p:nvPr/>
              </p:nvCxnSpPr>
              <p:spPr>
                <a:xfrm>
                  <a:off x="1645545" y="4328016"/>
                  <a:ext cx="38557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14" name="Rectangle 113">
                  <a:extLst>
                    <a:ext uri="{FF2B5EF4-FFF2-40B4-BE49-F238E27FC236}">
                      <a16:creationId xmlns:a16="http://schemas.microsoft.com/office/drawing/2014/main" id="{41C4D80D-122C-CF43-52AA-C40461066889}"/>
                    </a:ext>
                  </a:extLst>
                </p:cNvPr>
                <p:cNvSpPr/>
                <p:nvPr/>
              </p:nvSpPr>
              <p:spPr>
                <a:xfrm>
                  <a:off x="2448067" y="4034044"/>
                  <a:ext cx="1564409" cy="88360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200" b="1" i="0" dirty="0">
                      <a:solidFill>
                        <a:srgbClr val="0D0D0D"/>
                      </a:solidFill>
                      <a:effectLst/>
                      <a:latin typeface="Times New Roman" panose="02020603050405020304" pitchFamily="18" charset="0"/>
                      <a:cs typeface="Times New Roman" panose="02020603050405020304" pitchFamily="18" charset="0"/>
                    </a:rPr>
                    <a:t>La charge de travail des formateurs</a:t>
                  </a:r>
                  <a:endParaRPr lang="fr-FR" sz="1200" b="1" dirty="0">
                    <a:solidFill>
                      <a:srgbClr val="FF0000"/>
                    </a:solidFill>
                    <a:latin typeface="Times New Roman" panose="02020603050405020304" pitchFamily="18" charset="0"/>
                    <a:cs typeface="Times New Roman" panose="02020603050405020304" pitchFamily="18" charset="0"/>
                  </a:endParaRPr>
                </a:p>
              </p:txBody>
            </p:sp>
          </p:grpSp>
          <p:sp>
            <p:nvSpPr>
              <p:cNvPr id="116" name="Rectangle 115">
                <a:extLst>
                  <a:ext uri="{FF2B5EF4-FFF2-40B4-BE49-F238E27FC236}">
                    <a16:creationId xmlns:a16="http://schemas.microsoft.com/office/drawing/2014/main" id="{86304E19-3295-48CD-B0A0-748F1311D438}"/>
                  </a:ext>
                </a:extLst>
              </p:cNvPr>
              <p:cNvSpPr/>
              <p:nvPr/>
            </p:nvSpPr>
            <p:spPr>
              <a:xfrm>
                <a:off x="4813529" y="5573563"/>
                <a:ext cx="2080780" cy="62183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200" b="1" i="0" dirty="0">
                    <a:solidFill>
                      <a:srgbClr val="0D0D0D"/>
                    </a:solidFill>
                    <a:effectLst/>
                    <a:latin typeface="Times New Roman" panose="02020603050405020304" pitchFamily="18" charset="0"/>
                    <a:cs typeface="Times New Roman" panose="02020603050405020304" pitchFamily="18" charset="0"/>
                  </a:rPr>
                  <a:t>Absence d’une interface structurée qui englobe toutes les formations</a:t>
                </a:r>
                <a:endParaRPr lang="fr-FR" sz="1200" b="1" dirty="0">
                  <a:solidFill>
                    <a:srgbClr val="FF0000"/>
                  </a:solidFill>
                  <a:latin typeface="Times New Roman" panose="02020603050405020304" pitchFamily="18" charset="0"/>
                  <a:cs typeface="Times New Roman" panose="02020603050405020304" pitchFamily="18" charset="0"/>
                </a:endParaRPr>
              </a:p>
            </p:txBody>
          </p:sp>
        </p:grpSp>
        <p:sp>
          <p:nvSpPr>
            <p:cNvPr id="123" name="Rectangle 122">
              <a:extLst>
                <a:ext uri="{FF2B5EF4-FFF2-40B4-BE49-F238E27FC236}">
                  <a16:creationId xmlns:a16="http://schemas.microsoft.com/office/drawing/2014/main" id="{0E14EBDC-7B46-457C-B641-CF1C76373341}"/>
                </a:ext>
              </a:extLst>
            </p:cNvPr>
            <p:cNvSpPr/>
            <p:nvPr/>
          </p:nvSpPr>
          <p:spPr>
            <a:xfrm>
              <a:off x="8309874" y="2772828"/>
              <a:ext cx="1953691" cy="59122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200" b="1" i="0" dirty="0">
                  <a:solidFill>
                    <a:srgbClr val="0D0D0D"/>
                  </a:solidFill>
                  <a:effectLst/>
                  <a:latin typeface="Times New Roman" panose="02020603050405020304" pitchFamily="18" charset="0"/>
                  <a:cs typeface="Times New Roman" panose="02020603050405020304" pitchFamily="18" charset="0"/>
                </a:rPr>
                <a:t>Insuffisance de retours d'expérience (RETEX) </a:t>
              </a:r>
              <a:endParaRPr lang="fr-FR" sz="1200" b="1" dirty="0">
                <a:latin typeface="Times New Roman" panose="02020603050405020304" pitchFamily="18" charset="0"/>
                <a:cs typeface="Times New Roman" panose="02020603050405020304" pitchFamily="18" charset="0"/>
              </a:endParaRPr>
            </a:p>
          </p:txBody>
        </p:sp>
      </p:grpSp>
      <p:cxnSp>
        <p:nvCxnSpPr>
          <p:cNvPr id="26" name="Straight Arrow Connector 75">
            <a:extLst>
              <a:ext uri="{FF2B5EF4-FFF2-40B4-BE49-F238E27FC236}">
                <a16:creationId xmlns:a16="http://schemas.microsoft.com/office/drawing/2014/main" id="{42136BFC-8BEB-E3E1-BADA-75AAFDC825D5}"/>
              </a:ext>
            </a:extLst>
          </p:cNvPr>
          <p:cNvCxnSpPr>
            <a:cxnSpLocks/>
          </p:cNvCxnSpPr>
          <p:nvPr/>
        </p:nvCxnSpPr>
        <p:spPr>
          <a:xfrm>
            <a:off x="4190956" y="4055028"/>
            <a:ext cx="47986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8" name="Rectangle 67">
            <a:extLst>
              <a:ext uri="{FF2B5EF4-FFF2-40B4-BE49-F238E27FC236}">
                <a16:creationId xmlns:a16="http://schemas.microsoft.com/office/drawing/2014/main" id="{415C9446-5A2D-330E-253C-472DFBD2F48E}"/>
              </a:ext>
            </a:extLst>
          </p:cNvPr>
          <p:cNvSpPr/>
          <p:nvPr/>
        </p:nvSpPr>
        <p:spPr>
          <a:xfrm>
            <a:off x="9334421" y="4029292"/>
            <a:ext cx="2387502" cy="97297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fr-FR" sz="1200" b="1" i="0" dirty="0">
                <a:solidFill>
                  <a:srgbClr val="0D0D0D"/>
                </a:solidFill>
                <a:effectLst/>
                <a:latin typeface="Times New Roman" panose="02020603050405020304" pitchFamily="18" charset="0"/>
                <a:cs typeface="Times New Roman" panose="02020603050405020304" pitchFamily="18" charset="0"/>
              </a:rPr>
              <a:t>Manque de suivi ou d'évaluation des besoins en formation pratique des nouveaux consultants </a:t>
            </a:r>
            <a:endParaRPr lang="en-US" sz="1200" b="1" dirty="0">
              <a:latin typeface="Times New Roman" panose="02020603050405020304" pitchFamily="18" charset="0"/>
              <a:cs typeface="Times New Roman" panose="02020603050405020304" pitchFamily="18" charset="0"/>
            </a:endParaRPr>
          </a:p>
        </p:txBody>
      </p:sp>
      <p:cxnSp>
        <p:nvCxnSpPr>
          <p:cNvPr id="124" name="Straight Arrow Connector 82">
            <a:extLst>
              <a:ext uri="{FF2B5EF4-FFF2-40B4-BE49-F238E27FC236}">
                <a16:creationId xmlns:a16="http://schemas.microsoft.com/office/drawing/2014/main" id="{001DCE38-B20B-568E-7803-B717AB84A657}"/>
              </a:ext>
            </a:extLst>
          </p:cNvPr>
          <p:cNvCxnSpPr>
            <a:cxnSpLocks/>
            <a:stCxn id="116" idx="1"/>
          </p:cNvCxnSpPr>
          <p:nvPr/>
        </p:nvCxnSpPr>
        <p:spPr>
          <a:xfrm flipH="1">
            <a:off x="4072761" y="5137384"/>
            <a:ext cx="821154" cy="2690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0" name="Straight Arrow Connector 71">
            <a:extLst>
              <a:ext uri="{FF2B5EF4-FFF2-40B4-BE49-F238E27FC236}">
                <a16:creationId xmlns:a16="http://schemas.microsoft.com/office/drawing/2014/main" id="{62B1BBBD-4EB4-10EF-DE7F-0D55CE2E08CD}"/>
              </a:ext>
            </a:extLst>
          </p:cNvPr>
          <p:cNvCxnSpPr>
            <a:cxnSpLocks/>
          </p:cNvCxnSpPr>
          <p:nvPr/>
        </p:nvCxnSpPr>
        <p:spPr>
          <a:xfrm flipH="1">
            <a:off x="1509787" y="5179173"/>
            <a:ext cx="5567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41" name="Rectangle 140">
            <a:extLst>
              <a:ext uri="{FF2B5EF4-FFF2-40B4-BE49-F238E27FC236}">
                <a16:creationId xmlns:a16="http://schemas.microsoft.com/office/drawing/2014/main" id="{7D87DA21-DBEB-C4CE-6F10-1D15AF593F53}"/>
              </a:ext>
            </a:extLst>
          </p:cNvPr>
          <p:cNvSpPr/>
          <p:nvPr/>
        </p:nvSpPr>
        <p:spPr>
          <a:xfrm>
            <a:off x="2086758" y="4876633"/>
            <a:ext cx="1614385" cy="63738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fr-FR" sz="1200" b="1" i="0" dirty="0">
                <a:solidFill>
                  <a:srgbClr val="0D0D0D"/>
                </a:solidFill>
                <a:effectLst/>
                <a:latin typeface="Times New Roman" panose="02020603050405020304" pitchFamily="18" charset="0"/>
                <a:cs typeface="Times New Roman" panose="02020603050405020304" pitchFamily="18" charset="0"/>
              </a:rPr>
              <a:t>Manque de documentation claire et concise</a:t>
            </a:r>
            <a:endParaRPr lang="en-US" sz="1200" b="1" dirty="0">
              <a:latin typeface="Times New Roman" panose="02020603050405020304" pitchFamily="18" charset="0"/>
              <a:cs typeface="Times New Roman" panose="02020603050405020304" pitchFamily="18" charset="0"/>
            </a:endParaRPr>
          </a:p>
        </p:txBody>
      </p:sp>
      <p:sp>
        <p:nvSpPr>
          <p:cNvPr id="142" name="Rectangle 141">
            <a:extLst>
              <a:ext uri="{FF2B5EF4-FFF2-40B4-BE49-F238E27FC236}">
                <a16:creationId xmlns:a16="http://schemas.microsoft.com/office/drawing/2014/main" id="{736C49BE-805D-59AC-2880-92DA7D2B38F4}"/>
              </a:ext>
            </a:extLst>
          </p:cNvPr>
          <p:cNvSpPr/>
          <p:nvPr/>
        </p:nvSpPr>
        <p:spPr>
          <a:xfrm>
            <a:off x="5186360" y="3555397"/>
            <a:ext cx="2140132" cy="682091"/>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200" b="1" i="0" dirty="0">
                <a:solidFill>
                  <a:srgbClr val="0D0D0D"/>
                </a:solidFill>
                <a:effectLst/>
                <a:latin typeface="Times New Roman" panose="02020603050405020304" pitchFamily="18" charset="0"/>
                <a:cs typeface="Times New Roman" panose="02020603050405020304" pitchFamily="18" charset="0"/>
              </a:rPr>
              <a:t>Inexistence d’un aspect interactif où les consultants peuvent poser des questions</a:t>
            </a:r>
            <a:endParaRPr lang="fr-FR" sz="1200" b="1" dirty="0">
              <a:solidFill>
                <a:srgbClr val="FF0000"/>
              </a:solidFill>
              <a:latin typeface="Times New Roman" panose="02020603050405020304" pitchFamily="18" charset="0"/>
              <a:cs typeface="Times New Roman" panose="02020603050405020304" pitchFamily="18" charset="0"/>
            </a:endParaRPr>
          </a:p>
        </p:txBody>
      </p:sp>
      <p:cxnSp>
        <p:nvCxnSpPr>
          <p:cNvPr id="143" name="Straight Arrow Connector 82">
            <a:extLst>
              <a:ext uri="{FF2B5EF4-FFF2-40B4-BE49-F238E27FC236}">
                <a16:creationId xmlns:a16="http://schemas.microsoft.com/office/drawing/2014/main" id="{54124850-F35A-88D7-2429-A6E84F84C931}"/>
              </a:ext>
            </a:extLst>
          </p:cNvPr>
          <p:cNvCxnSpPr>
            <a:cxnSpLocks/>
          </p:cNvCxnSpPr>
          <p:nvPr/>
        </p:nvCxnSpPr>
        <p:spPr>
          <a:xfrm flipH="1" flipV="1">
            <a:off x="4827851" y="3891347"/>
            <a:ext cx="33268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3196757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25"/>
                                        </p:tgtEl>
                                        <p:attrNameLst>
                                          <p:attrName>style.visibility</p:attrName>
                                        </p:attrNameLst>
                                      </p:cBhvr>
                                      <p:to>
                                        <p:strVal val="visible"/>
                                      </p:to>
                                    </p:set>
                                    <p:animEffect transition="in" filter="fade">
                                      <p:cBhvr>
                                        <p:cTn id="7" dur="1000"/>
                                        <p:tgtEl>
                                          <p:spTgt spid="125"/>
                                        </p:tgtEl>
                                      </p:cBhvr>
                                    </p:animEffect>
                                    <p:anim calcmode="lin" valueType="num">
                                      <p:cBhvr>
                                        <p:cTn id="8" dur="1000" fill="hold"/>
                                        <p:tgtEl>
                                          <p:spTgt spid="125"/>
                                        </p:tgtEl>
                                        <p:attrNameLst>
                                          <p:attrName>ppt_x</p:attrName>
                                        </p:attrNameLst>
                                      </p:cBhvr>
                                      <p:tavLst>
                                        <p:tav tm="0">
                                          <p:val>
                                            <p:strVal val="#ppt_x"/>
                                          </p:val>
                                        </p:tav>
                                        <p:tav tm="100000">
                                          <p:val>
                                            <p:strVal val="#ppt_x"/>
                                          </p:val>
                                        </p:tav>
                                      </p:tavLst>
                                    </p:anim>
                                    <p:anim calcmode="lin" valueType="num">
                                      <p:cBhvr>
                                        <p:cTn id="9" dur="1000" fill="hold"/>
                                        <p:tgtEl>
                                          <p:spTgt spid="1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FE3465-7E4D-4CA2-B523-EA05BB8C2EBF}"/>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1FCF4B2-AAE8-436B-AA12-21E2A0AB8A6A}"/>
              </a:ext>
            </a:extLst>
          </p:cNvPr>
          <p:cNvSpPr>
            <a:spLocks noGrp="1"/>
          </p:cNvSpPr>
          <p:nvPr>
            <p:ph type="title" idx="4294967295"/>
          </p:nvPr>
        </p:nvSpPr>
        <p:spPr>
          <a:xfrm>
            <a:off x="0" y="0"/>
            <a:ext cx="0" cy="0"/>
          </a:xfrm>
        </p:spPr>
        <p:txBody>
          <a:bodyPr/>
          <a:lstStyle/>
          <a:p>
            <a:pPr indent="-355600"/>
            <a:br>
              <a:rPr lang="en-US" sz="2400" dirty="0"/>
            </a:br>
            <a:r>
              <a:rPr lang="en-US" sz="2400" dirty="0"/>
              <a:t>     AGENDA</a:t>
            </a:r>
          </a:p>
        </p:txBody>
      </p:sp>
      <p:sp>
        <p:nvSpPr>
          <p:cNvPr id="14" name="Rectangle 13">
            <a:extLst>
              <a:ext uri="{FF2B5EF4-FFF2-40B4-BE49-F238E27FC236}">
                <a16:creationId xmlns:a16="http://schemas.microsoft.com/office/drawing/2014/main" id="{9D92FC76-29C8-4951-8D30-743F276B8EB9}"/>
              </a:ext>
            </a:extLst>
          </p:cNvPr>
          <p:cNvSpPr/>
          <p:nvPr/>
        </p:nvSpPr>
        <p:spPr>
          <a:xfrm>
            <a:off x="2478128" y="1590021"/>
            <a:ext cx="8085077" cy="8602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fr-FR" sz="2133" spc="400" dirty="0">
                <a:solidFill>
                  <a:prstClr val="black"/>
                </a:solidFill>
              </a:rPr>
              <a:t>Introduction à la Formation: Objectif et prérequis</a:t>
            </a:r>
          </a:p>
        </p:txBody>
      </p:sp>
      <p:sp>
        <p:nvSpPr>
          <p:cNvPr id="16" name="Rectangle 15">
            <a:extLst>
              <a:ext uri="{FF2B5EF4-FFF2-40B4-BE49-F238E27FC236}">
                <a16:creationId xmlns:a16="http://schemas.microsoft.com/office/drawing/2014/main" id="{41239047-27A7-43DE-BD8E-F27AC8711606}"/>
              </a:ext>
            </a:extLst>
          </p:cNvPr>
          <p:cNvSpPr/>
          <p:nvPr/>
        </p:nvSpPr>
        <p:spPr>
          <a:xfrm>
            <a:off x="2478128" y="2652877"/>
            <a:ext cx="8085077" cy="8602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133" spc="400" dirty="0">
                <a:solidFill>
                  <a:prstClr val="black"/>
                </a:solidFill>
              </a:rPr>
              <a:t>Le </a:t>
            </a:r>
            <a:r>
              <a:rPr lang="fr-FR" sz="2133" spc="400">
                <a:solidFill>
                  <a:prstClr val="black"/>
                </a:solidFill>
              </a:rPr>
              <a:t>contenu principal </a:t>
            </a:r>
            <a:r>
              <a:rPr lang="fr-FR" sz="2133" spc="400" dirty="0">
                <a:solidFill>
                  <a:prstClr val="black"/>
                </a:solidFill>
              </a:rPr>
              <a:t>de la formation</a:t>
            </a:r>
          </a:p>
        </p:txBody>
      </p:sp>
      <p:sp>
        <p:nvSpPr>
          <p:cNvPr id="22" name="Rectangle 21">
            <a:extLst>
              <a:ext uri="{FF2B5EF4-FFF2-40B4-BE49-F238E27FC236}">
                <a16:creationId xmlns:a16="http://schemas.microsoft.com/office/drawing/2014/main" id="{B912F880-9990-4B5E-90F7-9710203439EA}"/>
              </a:ext>
            </a:extLst>
          </p:cNvPr>
          <p:cNvSpPr/>
          <p:nvPr/>
        </p:nvSpPr>
        <p:spPr>
          <a:xfrm>
            <a:off x="2478128" y="3715732"/>
            <a:ext cx="8085077" cy="8602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133" spc="400" dirty="0">
                <a:solidFill>
                  <a:prstClr val="black"/>
                </a:solidFill>
              </a:rPr>
              <a:t>Annexes</a:t>
            </a:r>
          </a:p>
        </p:txBody>
      </p:sp>
      <p:sp>
        <p:nvSpPr>
          <p:cNvPr id="24" name="Rectangle 23">
            <a:extLst>
              <a:ext uri="{FF2B5EF4-FFF2-40B4-BE49-F238E27FC236}">
                <a16:creationId xmlns:a16="http://schemas.microsoft.com/office/drawing/2014/main" id="{9C50531C-57DF-4A40-BD08-D083B7D5A6F6}"/>
              </a:ext>
            </a:extLst>
          </p:cNvPr>
          <p:cNvSpPr/>
          <p:nvPr/>
        </p:nvSpPr>
        <p:spPr>
          <a:xfrm>
            <a:off x="1628798" y="1590021"/>
            <a:ext cx="753439" cy="8602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FFFFFF"/>
                </a:solidFill>
                <a:latin typeface="Arial Black" panose="020B0A04020102020204" pitchFamily="34" charset="0"/>
              </a:rPr>
              <a:t>01</a:t>
            </a:r>
          </a:p>
        </p:txBody>
      </p:sp>
      <p:sp>
        <p:nvSpPr>
          <p:cNvPr id="25" name="Rectangle 24">
            <a:extLst>
              <a:ext uri="{FF2B5EF4-FFF2-40B4-BE49-F238E27FC236}">
                <a16:creationId xmlns:a16="http://schemas.microsoft.com/office/drawing/2014/main" id="{57D5DCFA-36E9-428D-9336-5E83D32523BF}"/>
              </a:ext>
            </a:extLst>
          </p:cNvPr>
          <p:cNvSpPr/>
          <p:nvPr/>
        </p:nvSpPr>
        <p:spPr>
          <a:xfrm>
            <a:off x="1628798" y="2652877"/>
            <a:ext cx="753439" cy="8602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FFFFFF"/>
                </a:solidFill>
                <a:latin typeface="Arial Black" panose="020B0A04020102020204" pitchFamily="34" charset="0"/>
              </a:rPr>
              <a:t>02</a:t>
            </a:r>
          </a:p>
        </p:txBody>
      </p:sp>
      <p:sp>
        <p:nvSpPr>
          <p:cNvPr id="26" name="Rectangle 25">
            <a:extLst>
              <a:ext uri="{FF2B5EF4-FFF2-40B4-BE49-F238E27FC236}">
                <a16:creationId xmlns:a16="http://schemas.microsoft.com/office/drawing/2014/main" id="{63135C39-0F02-4617-9BEB-56A2E96849D2}"/>
              </a:ext>
            </a:extLst>
          </p:cNvPr>
          <p:cNvSpPr/>
          <p:nvPr/>
        </p:nvSpPr>
        <p:spPr>
          <a:xfrm>
            <a:off x="1628798" y="3715733"/>
            <a:ext cx="753439" cy="8602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FFFFFF"/>
                </a:solidFill>
                <a:latin typeface="Arial Black" panose="020B0A04020102020204" pitchFamily="34" charset="0"/>
              </a:rPr>
              <a:t>03</a:t>
            </a:r>
          </a:p>
        </p:txBody>
      </p:sp>
    </p:spTree>
    <p:extLst>
      <p:ext uri="{BB962C8B-B14F-4D97-AF65-F5344CB8AC3E}">
        <p14:creationId xmlns:p14="http://schemas.microsoft.com/office/powerpoint/2010/main" val="2976170439"/>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e 11"/>
          <p:cNvGrpSpPr/>
          <p:nvPr/>
        </p:nvGrpSpPr>
        <p:grpSpPr>
          <a:xfrm>
            <a:off x="1238127" y="668167"/>
            <a:ext cx="1308010" cy="400110"/>
            <a:chOff x="2037715" y="892654"/>
            <a:chExt cx="1127024" cy="400110"/>
          </a:xfrm>
        </p:grpSpPr>
        <p:sp>
          <p:nvSpPr>
            <p:cNvPr id="44" name="ZoneTexte 43"/>
            <p:cNvSpPr txBox="1"/>
            <p:nvPr/>
          </p:nvSpPr>
          <p:spPr>
            <a:xfrm>
              <a:off x="2037715" y="892654"/>
              <a:ext cx="1127024"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Définir</a:t>
              </a:r>
            </a:p>
          </p:txBody>
        </p:sp>
        <p:cxnSp>
          <p:nvCxnSpPr>
            <p:cNvPr id="55" name="Connecteur droit 54"/>
            <p:cNvCxnSpPr/>
            <p:nvPr/>
          </p:nvCxnSpPr>
          <p:spPr>
            <a:xfrm>
              <a:off x="2264795" y="1282860"/>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3" name="Groupe 12"/>
          <p:cNvGrpSpPr/>
          <p:nvPr/>
        </p:nvGrpSpPr>
        <p:grpSpPr>
          <a:xfrm>
            <a:off x="3160124" y="668167"/>
            <a:ext cx="1440667" cy="400110"/>
            <a:chOff x="3959712" y="892654"/>
            <a:chExt cx="1241325" cy="400110"/>
          </a:xfrm>
        </p:grpSpPr>
        <p:sp>
          <p:nvSpPr>
            <p:cNvPr id="47" name="ZoneTexte 46"/>
            <p:cNvSpPr txBox="1"/>
            <p:nvPr/>
          </p:nvSpPr>
          <p:spPr>
            <a:xfrm>
              <a:off x="3959712" y="892654"/>
              <a:ext cx="1241325"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Mesurer</a:t>
              </a:r>
            </a:p>
          </p:txBody>
        </p:sp>
        <p:cxnSp>
          <p:nvCxnSpPr>
            <p:cNvPr id="56" name="Connecteur droit 55"/>
            <p:cNvCxnSpPr/>
            <p:nvPr/>
          </p:nvCxnSpPr>
          <p:spPr>
            <a:xfrm>
              <a:off x="4176722" y="1282860"/>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5" name="Groupe 14"/>
          <p:cNvGrpSpPr/>
          <p:nvPr/>
        </p:nvGrpSpPr>
        <p:grpSpPr>
          <a:xfrm>
            <a:off x="5056397" y="668167"/>
            <a:ext cx="1440667" cy="400110"/>
            <a:chOff x="5855985" y="892654"/>
            <a:chExt cx="1241325" cy="400110"/>
          </a:xfrm>
        </p:grpSpPr>
        <p:sp>
          <p:nvSpPr>
            <p:cNvPr id="49" name="ZoneTexte 48"/>
            <p:cNvSpPr txBox="1"/>
            <p:nvPr/>
          </p:nvSpPr>
          <p:spPr>
            <a:xfrm>
              <a:off x="5855985" y="892654"/>
              <a:ext cx="1241325"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b="1" dirty="0">
                  <a:latin typeface="Lato  "/>
                </a:rPr>
                <a:t>Analyser</a:t>
              </a:r>
            </a:p>
          </p:txBody>
        </p:sp>
        <p:cxnSp>
          <p:nvCxnSpPr>
            <p:cNvPr id="58" name="Connecteur droit 57"/>
            <p:cNvCxnSpPr/>
            <p:nvPr/>
          </p:nvCxnSpPr>
          <p:spPr>
            <a:xfrm>
              <a:off x="6047085" y="1292764"/>
              <a:ext cx="540001" cy="0"/>
            </a:xfrm>
            <a:prstGeom prst="line">
              <a:avLst/>
            </a:prstGeom>
            <a:ln w="28575">
              <a:solidFill>
                <a:srgbClr val="EE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Groupe 15"/>
          <p:cNvGrpSpPr/>
          <p:nvPr/>
        </p:nvGrpSpPr>
        <p:grpSpPr>
          <a:xfrm>
            <a:off x="7092695" y="668167"/>
            <a:ext cx="1561262" cy="400110"/>
            <a:chOff x="7892283" y="892654"/>
            <a:chExt cx="1345234" cy="400110"/>
          </a:xfrm>
        </p:grpSpPr>
        <p:sp>
          <p:nvSpPr>
            <p:cNvPr id="51" name="ZoneTexte 50"/>
            <p:cNvSpPr txBox="1"/>
            <p:nvPr/>
          </p:nvSpPr>
          <p:spPr>
            <a:xfrm>
              <a:off x="7892283" y="892654"/>
              <a:ext cx="1345234"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Améliorer</a:t>
              </a:r>
            </a:p>
          </p:txBody>
        </p:sp>
        <p:cxnSp>
          <p:nvCxnSpPr>
            <p:cNvPr id="60" name="Connecteur droit 59"/>
            <p:cNvCxnSpPr/>
            <p:nvPr/>
          </p:nvCxnSpPr>
          <p:spPr>
            <a:xfrm>
              <a:off x="8083704"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7" name="Groupe 56"/>
          <p:cNvGrpSpPr/>
          <p:nvPr/>
        </p:nvGrpSpPr>
        <p:grpSpPr>
          <a:xfrm>
            <a:off x="9108530" y="668167"/>
            <a:ext cx="1464786" cy="400110"/>
            <a:chOff x="9908118" y="892654"/>
            <a:chExt cx="1262107" cy="400110"/>
          </a:xfrm>
        </p:grpSpPr>
        <p:sp>
          <p:nvSpPr>
            <p:cNvPr id="53" name="ZoneTexte 52"/>
            <p:cNvSpPr txBox="1"/>
            <p:nvPr/>
          </p:nvSpPr>
          <p:spPr>
            <a:xfrm>
              <a:off x="9908118" y="892654"/>
              <a:ext cx="1262107"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Contrôler</a:t>
              </a:r>
            </a:p>
          </p:txBody>
        </p:sp>
        <p:cxnSp>
          <p:nvCxnSpPr>
            <p:cNvPr id="62" name="Connecteur droit 61"/>
            <p:cNvCxnSpPr/>
            <p:nvPr/>
          </p:nvCxnSpPr>
          <p:spPr>
            <a:xfrm>
              <a:off x="10089149"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9" name="Rectangle 58"/>
          <p:cNvSpPr/>
          <p:nvPr/>
        </p:nvSpPr>
        <p:spPr>
          <a:xfrm rot="10800000">
            <a:off x="144038" y="6315373"/>
            <a:ext cx="412293" cy="338554"/>
          </a:xfrm>
          <a:prstGeom prst="rect">
            <a:avLst/>
          </a:prstGeom>
        </p:spPr>
        <p:txBody>
          <a:bodyPr wrap="none">
            <a:spAutoFit/>
          </a:bodyPr>
          <a:lstStyle>
            <a:defPPr>
              <a:defRPr lang="en-US"/>
            </a:defPPr>
            <a:lvl1pPr marL="0" algn="l" defTabSz="914340" rtl="0" eaLnBrk="1" latinLnBrk="0" hangingPunct="1">
              <a:defRPr sz="1800" kern="1200">
                <a:solidFill>
                  <a:schemeClr val="tx1"/>
                </a:solidFill>
                <a:latin typeface="+mn-lt"/>
                <a:ea typeface="+mn-ea"/>
                <a:cs typeface="+mn-cs"/>
              </a:defRPr>
            </a:lvl1pPr>
            <a:lvl2pPr marL="457170"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1" algn="l" defTabSz="914340" rtl="0" eaLnBrk="1" latinLnBrk="0" hangingPunct="1">
              <a:defRPr sz="1800" kern="1200">
                <a:solidFill>
                  <a:schemeClr val="tx1"/>
                </a:solidFill>
                <a:latin typeface="+mn-lt"/>
                <a:ea typeface="+mn-ea"/>
                <a:cs typeface="+mn-cs"/>
              </a:defRPr>
            </a:lvl7pPr>
            <a:lvl8pPr marL="3200193"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a:lstStyle>
          <a:p>
            <a:pPr algn="ctr"/>
            <a:r>
              <a:rPr lang="en-AU" sz="1600" dirty="0">
                <a:solidFill>
                  <a:schemeClr val="bg1"/>
                </a:solidFill>
                <a:latin typeface="Lato"/>
              </a:rPr>
              <a:t>15</a:t>
            </a:r>
          </a:p>
        </p:txBody>
      </p:sp>
      <p:sp>
        <p:nvSpPr>
          <p:cNvPr id="2" name="Espace réservé du numéro de diapositive 1"/>
          <p:cNvSpPr>
            <a:spLocks noGrp="1"/>
          </p:cNvSpPr>
          <p:nvPr>
            <p:ph type="sldNum" sz="quarter" idx="12"/>
          </p:nvPr>
        </p:nvSpPr>
        <p:spPr>
          <a:xfrm>
            <a:off x="9334421" y="6288241"/>
            <a:ext cx="2743200" cy="365125"/>
          </a:xfrm>
        </p:spPr>
        <p:txBody>
          <a:bodyPr vert="horz" lIns="91440" tIns="45720" rIns="91440" bIns="45720" rtlCol="0" anchor="ctr"/>
          <a:lstStyle/>
          <a:p>
            <a:fld id="{6130CD27-AFE4-4E20-B740-5A2305B4E48B}" type="slidenum">
              <a:rPr lang="fr-FR" sz="1600">
                <a:solidFill>
                  <a:schemeClr val="bg1"/>
                </a:solidFill>
                <a:latin typeface="Lato"/>
              </a:rPr>
              <a:pPr/>
              <a:t>20</a:t>
            </a:fld>
            <a:endParaRPr lang="fr-FR" sz="1600" dirty="0">
              <a:solidFill>
                <a:schemeClr val="bg1"/>
              </a:solidFill>
              <a:latin typeface="Lato"/>
            </a:endParaRPr>
          </a:p>
        </p:txBody>
      </p:sp>
      <p:sp>
        <p:nvSpPr>
          <p:cNvPr id="78" name="ZoneTexte 53">
            <a:extLst>
              <a:ext uri="{FF2B5EF4-FFF2-40B4-BE49-F238E27FC236}">
                <a16:creationId xmlns:a16="http://schemas.microsoft.com/office/drawing/2014/main" id="{6F4450BA-9AAA-4FEE-B3C6-7629ACE48039}"/>
              </a:ext>
            </a:extLst>
          </p:cNvPr>
          <p:cNvSpPr txBox="1"/>
          <p:nvPr/>
        </p:nvSpPr>
        <p:spPr>
          <a:xfrm>
            <a:off x="390860" y="74183"/>
            <a:ext cx="1821107"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Environnement </a:t>
            </a:r>
          </a:p>
          <a:p>
            <a:r>
              <a:rPr lang="it-IT" dirty="0"/>
              <a:t>du projet</a:t>
            </a:r>
            <a:endParaRPr lang="fr-FR" dirty="0"/>
          </a:p>
        </p:txBody>
      </p:sp>
      <p:sp>
        <p:nvSpPr>
          <p:cNvPr id="91" name="ZoneTexte 54">
            <a:extLst>
              <a:ext uri="{FF2B5EF4-FFF2-40B4-BE49-F238E27FC236}">
                <a16:creationId xmlns:a16="http://schemas.microsoft.com/office/drawing/2014/main" id="{B24A9C8C-AE54-436E-9627-3001171037C2}"/>
              </a:ext>
            </a:extLst>
          </p:cNvPr>
          <p:cNvSpPr txBox="1"/>
          <p:nvPr/>
        </p:nvSpPr>
        <p:spPr>
          <a:xfrm>
            <a:off x="6433678" y="74184"/>
            <a:ext cx="1784587" cy="646331"/>
          </a:xfrm>
          <a:prstGeom prst="rect">
            <a:avLst/>
          </a:prstGeom>
          <a:solidFill>
            <a:srgbClr val="020088"/>
          </a:solidFill>
        </p:spPr>
        <p:txBody>
          <a:bodyPr wrap="square" rtlCol="0">
            <a:spAutoFit/>
          </a:bodyPr>
          <a:lstStyle>
            <a:defPPr>
              <a:defRPr lang="fr-FR"/>
            </a:defPPr>
            <a:lvl1pPr algn="ctr">
              <a:defRPr>
                <a:solidFill>
                  <a:schemeClr val="bg1"/>
                </a:solidFill>
                <a:latin typeface="Lato  "/>
              </a:defRPr>
            </a:lvl1pPr>
          </a:lstStyle>
          <a:p>
            <a:r>
              <a:rPr lang="it-IT" dirty="0"/>
              <a:t>Mise en oeuvre du projet</a:t>
            </a:r>
            <a:endParaRPr lang="fr-FR" dirty="0"/>
          </a:p>
        </p:txBody>
      </p:sp>
      <p:sp>
        <p:nvSpPr>
          <p:cNvPr id="92" name="ZoneTexte 55">
            <a:extLst>
              <a:ext uri="{FF2B5EF4-FFF2-40B4-BE49-F238E27FC236}">
                <a16:creationId xmlns:a16="http://schemas.microsoft.com/office/drawing/2014/main" id="{37F626EB-7569-4651-A107-92056F5647D1}"/>
              </a:ext>
            </a:extLst>
          </p:cNvPr>
          <p:cNvSpPr txBox="1"/>
          <p:nvPr/>
        </p:nvSpPr>
        <p:spPr>
          <a:xfrm>
            <a:off x="9319488" y="74730"/>
            <a:ext cx="1752879" cy="646331"/>
          </a:xfrm>
          <a:prstGeom prst="rect">
            <a:avLst/>
          </a:prstGeom>
          <a:solidFill>
            <a:schemeClr val="bg2"/>
          </a:solidFill>
        </p:spPr>
        <p:txBody>
          <a:bodyPr wrap="square" rtlCol="0">
            <a:spAutoFit/>
          </a:bodyPr>
          <a:lstStyle/>
          <a:p>
            <a:pPr algn="ctr"/>
            <a:r>
              <a:rPr lang="it-IT" dirty="0">
                <a:latin typeface="Lato  "/>
              </a:rPr>
              <a:t>Conclusion et</a:t>
            </a:r>
          </a:p>
          <a:p>
            <a:pPr algn="ctr"/>
            <a:r>
              <a:rPr lang="it-IT" dirty="0">
                <a:latin typeface="Lato  "/>
              </a:rPr>
              <a:t> Perspectives</a:t>
            </a:r>
            <a:endParaRPr lang="fr-FR" dirty="0">
              <a:latin typeface="Lato  "/>
            </a:endParaRPr>
          </a:p>
        </p:txBody>
      </p:sp>
      <p:cxnSp>
        <p:nvCxnSpPr>
          <p:cNvPr id="94" name="Connecteur droit 57">
            <a:extLst>
              <a:ext uri="{FF2B5EF4-FFF2-40B4-BE49-F238E27FC236}">
                <a16:creationId xmlns:a16="http://schemas.microsoft.com/office/drawing/2014/main" id="{3ECE51A5-C702-40C3-A387-7D101E5CC9DC}"/>
              </a:ext>
            </a:extLst>
          </p:cNvPr>
          <p:cNvCxnSpPr>
            <a:cxnSpLocks/>
            <a:stCxn id="78" idx="3"/>
            <a:endCxn id="100" idx="1"/>
          </p:cNvCxnSpPr>
          <p:nvPr/>
        </p:nvCxnSpPr>
        <p:spPr>
          <a:xfrm>
            <a:off x="2211967" y="397349"/>
            <a:ext cx="1101223"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95" name="Connecteur droit 58">
            <a:extLst>
              <a:ext uri="{FF2B5EF4-FFF2-40B4-BE49-F238E27FC236}">
                <a16:creationId xmlns:a16="http://schemas.microsoft.com/office/drawing/2014/main" id="{4BB2F680-0AB5-4D3E-BD93-5FD34EA7EB6A}"/>
              </a:ext>
            </a:extLst>
          </p:cNvPr>
          <p:cNvCxnSpPr>
            <a:cxnSpLocks/>
            <a:stCxn id="91" idx="3"/>
            <a:endCxn id="92" idx="1"/>
          </p:cNvCxnSpPr>
          <p:nvPr/>
        </p:nvCxnSpPr>
        <p:spPr>
          <a:xfrm>
            <a:off x="8218265" y="397350"/>
            <a:ext cx="1101223" cy="546"/>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99" name="Espace réservé du numéro de diapositive 1">
            <a:extLst>
              <a:ext uri="{FF2B5EF4-FFF2-40B4-BE49-F238E27FC236}">
                <a16:creationId xmlns:a16="http://schemas.microsoft.com/office/drawing/2014/main" id="{A1997D78-9A12-444B-A0B2-F4FD381E35A9}"/>
              </a:ext>
            </a:extLst>
          </p:cNvPr>
          <p:cNvSpPr txBox="1">
            <a:spLocks/>
          </p:cNvSpPr>
          <p:nvPr/>
        </p:nvSpPr>
        <p:spPr>
          <a:xfrm>
            <a:off x="9389287" y="6359316"/>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solidFill>
                <a:latin typeface="Lato"/>
              </a:rPr>
              <a:t>13</a:t>
            </a:r>
          </a:p>
        </p:txBody>
      </p:sp>
      <p:sp>
        <p:nvSpPr>
          <p:cNvPr id="100" name="ZoneTexte 54">
            <a:extLst>
              <a:ext uri="{FF2B5EF4-FFF2-40B4-BE49-F238E27FC236}">
                <a16:creationId xmlns:a16="http://schemas.microsoft.com/office/drawing/2014/main" id="{1EB769E5-B687-4117-8216-81780C7D7D11}"/>
              </a:ext>
            </a:extLst>
          </p:cNvPr>
          <p:cNvSpPr txBox="1"/>
          <p:nvPr/>
        </p:nvSpPr>
        <p:spPr>
          <a:xfrm>
            <a:off x="3313190" y="74184"/>
            <a:ext cx="2024481"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Contexte Général</a:t>
            </a:r>
          </a:p>
          <a:p>
            <a:r>
              <a:rPr lang="it-IT" dirty="0"/>
              <a:t> du projet</a:t>
            </a:r>
          </a:p>
        </p:txBody>
      </p:sp>
      <p:cxnSp>
        <p:nvCxnSpPr>
          <p:cNvPr id="101" name="Connecteur droit 57">
            <a:extLst>
              <a:ext uri="{FF2B5EF4-FFF2-40B4-BE49-F238E27FC236}">
                <a16:creationId xmlns:a16="http://schemas.microsoft.com/office/drawing/2014/main" id="{FD0AE152-642A-4463-8A8E-2BCD7B97F60B}"/>
              </a:ext>
            </a:extLst>
          </p:cNvPr>
          <p:cNvCxnSpPr>
            <a:cxnSpLocks/>
          </p:cNvCxnSpPr>
          <p:nvPr/>
        </p:nvCxnSpPr>
        <p:spPr>
          <a:xfrm>
            <a:off x="5337671" y="397350"/>
            <a:ext cx="1096007" cy="0"/>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84" name="Connecteur droit 56">
            <a:extLst>
              <a:ext uri="{FF2B5EF4-FFF2-40B4-BE49-F238E27FC236}">
                <a16:creationId xmlns:a16="http://schemas.microsoft.com/office/drawing/2014/main" id="{1805E98E-BE31-4087-8A21-8CCE1753C310}"/>
              </a:ext>
            </a:extLst>
          </p:cNvPr>
          <p:cNvCxnSpPr>
            <a:cxnSpLocks/>
          </p:cNvCxnSpPr>
          <p:nvPr/>
        </p:nvCxnSpPr>
        <p:spPr>
          <a:xfrm>
            <a:off x="11077903" y="410171"/>
            <a:ext cx="793875"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85" name="Group 3">
            <a:extLst>
              <a:ext uri="{FF2B5EF4-FFF2-40B4-BE49-F238E27FC236}">
                <a16:creationId xmlns:a16="http://schemas.microsoft.com/office/drawing/2014/main" id="{DD47ACEB-F849-4CC0-9B75-617296D46DCF}"/>
              </a:ext>
            </a:extLst>
          </p:cNvPr>
          <p:cNvGrpSpPr/>
          <p:nvPr/>
        </p:nvGrpSpPr>
        <p:grpSpPr>
          <a:xfrm rot="10800000">
            <a:off x="11632841" y="410171"/>
            <a:ext cx="504000" cy="6352766"/>
            <a:chOff x="-5771165" y="1295207"/>
            <a:chExt cx="504000" cy="6352766"/>
          </a:xfrm>
          <a:solidFill>
            <a:srgbClr val="020088"/>
          </a:solidFill>
        </p:grpSpPr>
        <p:cxnSp>
          <p:nvCxnSpPr>
            <p:cNvPr id="114" name="Straight Connector 9">
              <a:extLst>
                <a:ext uri="{FF2B5EF4-FFF2-40B4-BE49-F238E27FC236}">
                  <a16:creationId xmlns:a16="http://schemas.microsoft.com/office/drawing/2014/main" id="{6AB9B7C2-004D-4B31-89B8-ECF2C4E02CEF}"/>
                </a:ext>
              </a:extLst>
            </p:cNvPr>
            <p:cNvCxnSpPr>
              <a:cxnSpLocks/>
            </p:cNvCxnSpPr>
            <p:nvPr/>
          </p:nvCxnSpPr>
          <p:spPr>
            <a:xfrm rot="10800000" flipV="1">
              <a:off x="-5506102" y="1610316"/>
              <a:ext cx="0" cy="6037657"/>
            </a:xfrm>
            <a:prstGeom prst="line">
              <a:avLst/>
            </a:prstGeom>
            <a:grpFill/>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115" name="Teardrop 38">
              <a:extLst>
                <a:ext uri="{FF2B5EF4-FFF2-40B4-BE49-F238E27FC236}">
                  <a16:creationId xmlns:a16="http://schemas.microsoft.com/office/drawing/2014/main" id="{F0D56FDE-EE6B-4458-BE90-203A295005CD}"/>
                </a:ext>
              </a:extLst>
            </p:cNvPr>
            <p:cNvSpPr/>
            <p:nvPr/>
          </p:nvSpPr>
          <p:spPr>
            <a:xfrm rot="8100000">
              <a:off x="-5771165" y="1295207"/>
              <a:ext cx="504000" cy="504000"/>
            </a:xfrm>
            <a:prstGeom prst="teardrop">
              <a:avLst>
                <a:gd name="adj" fmla="val 9891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dirty="0"/>
            </a:p>
          </p:txBody>
        </p:sp>
      </p:grpSp>
      <p:sp>
        <p:nvSpPr>
          <p:cNvPr id="118" name="Espace réservé du numéro de diapositive 1">
            <a:extLst>
              <a:ext uri="{FF2B5EF4-FFF2-40B4-BE49-F238E27FC236}">
                <a16:creationId xmlns:a16="http://schemas.microsoft.com/office/drawing/2014/main" id="{49FCDE72-6127-468A-85A5-48E54FDD7697}"/>
              </a:ext>
            </a:extLst>
          </p:cNvPr>
          <p:cNvSpPr txBox="1">
            <a:spLocks/>
          </p:cNvSpPr>
          <p:nvPr/>
        </p:nvSpPr>
        <p:spPr>
          <a:xfrm>
            <a:off x="9344855" y="6302087"/>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solidFill>
                <a:latin typeface="Lato"/>
              </a:rPr>
              <a:t>14</a:t>
            </a:r>
          </a:p>
        </p:txBody>
      </p:sp>
      <p:sp>
        <p:nvSpPr>
          <p:cNvPr id="126" name="ZoneTexte 64">
            <a:extLst>
              <a:ext uri="{FF2B5EF4-FFF2-40B4-BE49-F238E27FC236}">
                <a16:creationId xmlns:a16="http://schemas.microsoft.com/office/drawing/2014/main" id="{0867F437-D2F7-4763-97A7-A5B4810A22C4}"/>
              </a:ext>
            </a:extLst>
          </p:cNvPr>
          <p:cNvSpPr txBox="1"/>
          <p:nvPr/>
        </p:nvSpPr>
        <p:spPr>
          <a:xfrm>
            <a:off x="144037" y="2010778"/>
            <a:ext cx="4604213"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rgbClr val="808080">
                    <a:lumMod val="40000"/>
                    <a:lumOff val="60000"/>
                  </a:srgbClr>
                </a:solidFill>
                <a:latin typeface="Lato  "/>
              </a:rPr>
              <a:t>2- Aspect des PSR</a:t>
            </a:r>
          </a:p>
        </p:txBody>
      </p:sp>
      <p:sp>
        <p:nvSpPr>
          <p:cNvPr id="127" name="ZoneTexte 65">
            <a:extLst>
              <a:ext uri="{FF2B5EF4-FFF2-40B4-BE49-F238E27FC236}">
                <a16:creationId xmlns:a16="http://schemas.microsoft.com/office/drawing/2014/main" id="{B4127AD3-A8F3-4609-8900-EB0EB93A08F2}"/>
              </a:ext>
            </a:extLst>
          </p:cNvPr>
          <p:cNvSpPr txBox="1"/>
          <p:nvPr/>
        </p:nvSpPr>
        <p:spPr>
          <a:xfrm>
            <a:off x="141961" y="1560117"/>
            <a:ext cx="3939959"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b="1" dirty="0">
                <a:solidFill>
                  <a:srgbClr val="000000"/>
                </a:solidFill>
                <a:latin typeface="Lato  "/>
              </a:rPr>
              <a:t>1- Diagramme Pareto</a:t>
            </a:r>
          </a:p>
        </p:txBody>
      </p:sp>
      <p:grpSp>
        <p:nvGrpSpPr>
          <p:cNvPr id="10" name="Group 9">
            <a:extLst>
              <a:ext uri="{FF2B5EF4-FFF2-40B4-BE49-F238E27FC236}">
                <a16:creationId xmlns:a16="http://schemas.microsoft.com/office/drawing/2014/main" id="{AFE5488F-AE73-4871-93A1-3D5D85D2593E}"/>
              </a:ext>
            </a:extLst>
          </p:cNvPr>
          <p:cNvGrpSpPr/>
          <p:nvPr/>
        </p:nvGrpSpPr>
        <p:grpSpPr>
          <a:xfrm>
            <a:off x="3901953" y="2161921"/>
            <a:ext cx="7142612" cy="3890202"/>
            <a:chOff x="3901953" y="2161921"/>
            <a:chExt cx="7142612" cy="3890202"/>
          </a:xfrm>
        </p:grpSpPr>
        <mc:AlternateContent xmlns:mc="http://schemas.openxmlformats.org/markup-compatibility/2006" xmlns:cx1="http://schemas.microsoft.com/office/drawing/2015/9/8/chartex">
          <mc:Choice Requires="cx1">
            <p:graphicFrame>
              <p:nvGraphicFramePr>
                <p:cNvPr id="128" name="Chart 127">
                  <a:extLst>
                    <a:ext uri="{FF2B5EF4-FFF2-40B4-BE49-F238E27FC236}">
                      <a16:creationId xmlns:a16="http://schemas.microsoft.com/office/drawing/2014/main" id="{98C2D59C-E8F0-4ADB-83B3-10903C6E9AC8}"/>
                    </a:ext>
                  </a:extLst>
                </p:cNvPr>
                <p:cNvGraphicFramePr/>
                <p:nvPr/>
              </p:nvGraphicFramePr>
              <p:xfrm>
                <a:off x="3901953" y="2161921"/>
                <a:ext cx="7142612" cy="3890202"/>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28" name="Chart 127">
                  <a:extLst>
                    <a:ext uri="{FF2B5EF4-FFF2-40B4-BE49-F238E27FC236}">
                      <a16:creationId xmlns:a16="http://schemas.microsoft.com/office/drawing/2014/main" id="{98C2D59C-E8F0-4ADB-83B3-10903C6E9AC8}"/>
                    </a:ext>
                  </a:extLst>
                </p:cNvPr>
                <p:cNvPicPr>
                  <a:picLocks noGrp="1" noRot="1" noChangeAspect="1" noMove="1" noResize="1" noEditPoints="1" noAdjustHandles="1" noChangeArrowheads="1" noChangeShapeType="1"/>
                </p:cNvPicPr>
                <p:nvPr/>
              </p:nvPicPr>
              <p:blipFill>
                <a:blip r:embed="rId5"/>
                <a:stretch>
                  <a:fillRect/>
                </a:stretch>
              </p:blipFill>
              <p:spPr>
                <a:xfrm>
                  <a:off x="3901953" y="2161921"/>
                  <a:ext cx="7142612" cy="3890202"/>
                </a:xfrm>
                <a:prstGeom prst="rect">
                  <a:avLst/>
                </a:prstGeom>
              </p:spPr>
            </p:pic>
          </mc:Fallback>
        </mc:AlternateContent>
        <p:cxnSp>
          <p:nvCxnSpPr>
            <p:cNvPr id="4" name="Straight Connector 3">
              <a:extLst>
                <a:ext uri="{FF2B5EF4-FFF2-40B4-BE49-F238E27FC236}">
                  <a16:creationId xmlns:a16="http://schemas.microsoft.com/office/drawing/2014/main" id="{DAE15AE1-6D3F-4ED4-8907-4F7CB8898B30}"/>
                </a:ext>
              </a:extLst>
            </p:cNvPr>
            <p:cNvCxnSpPr>
              <a:cxnSpLocks/>
            </p:cNvCxnSpPr>
            <p:nvPr/>
          </p:nvCxnSpPr>
          <p:spPr>
            <a:xfrm flipH="1" flipV="1">
              <a:off x="6089516" y="3141807"/>
              <a:ext cx="4099926" cy="1"/>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1564B768-7E44-447B-82E8-18A198C8D367}"/>
                </a:ext>
              </a:extLst>
            </p:cNvPr>
            <p:cNvCxnSpPr>
              <a:cxnSpLocks/>
            </p:cNvCxnSpPr>
            <p:nvPr/>
          </p:nvCxnSpPr>
          <p:spPr>
            <a:xfrm flipV="1">
              <a:off x="6102485" y="3141807"/>
              <a:ext cx="0" cy="202186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30" name="ZoneTexte 64">
            <a:extLst>
              <a:ext uri="{FF2B5EF4-FFF2-40B4-BE49-F238E27FC236}">
                <a16:creationId xmlns:a16="http://schemas.microsoft.com/office/drawing/2014/main" id="{1FF342AA-CB49-4799-8877-B6ECFCF50C1D}"/>
              </a:ext>
            </a:extLst>
          </p:cNvPr>
          <p:cNvSpPr txBox="1"/>
          <p:nvPr/>
        </p:nvSpPr>
        <p:spPr>
          <a:xfrm>
            <a:off x="141961" y="2436424"/>
            <a:ext cx="4604213"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rgbClr val="808080">
                    <a:lumMod val="40000"/>
                    <a:lumOff val="60000"/>
                  </a:srgbClr>
                </a:solidFill>
                <a:latin typeface="Lato  "/>
              </a:rPr>
              <a:t>3- Préhenseur de poste BM50</a:t>
            </a:r>
          </a:p>
        </p:txBody>
      </p:sp>
      <p:sp>
        <p:nvSpPr>
          <p:cNvPr id="131" name="ZoneTexte 64">
            <a:extLst>
              <a:ext uri="{FF2B5EF4-FFF2-40B4-BE49-F238E27FC236}">
                <a16:creationId xmlns:a16="http://schemas.microsoft.com/office/drawing/2014/main" id="{5A793F07-9EAB-4805-ACC8-4C2989C727A9}"/>
              </a:ext>
            </a:extLst>
          </p:cNvPr>
          <p:cNvSpPr txBox="1"/>
          <p:nvPr/>
        </p:nvSpPr>
        <p:spPr>
          <a:xfrm>
            <a:off x="141961" y="2872743"/>
            <a:ext cx="2538516"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rgbClr val="808080">
                    <a:lumMod val="40000"/>
                    <a:lumOff val="60000"/>
                  </a:srgbClr>
                </a:solidFill>
                <a:latin typeface="Lato  "/>
              </a:rPr>
              <a:t>4- Serrage des romaines</a:t>
            </a:r>
          </a:p>
        </p:txBody>
      </p:sp>
      <p:sp>
        <p:nvSpPr>
          <p:cNvPr id="132" name="ZoneTexte 64">
            <a:extLst>
              <a:ext uri="{FF2B5EF4-FFF2-40B4-BE49-F238E27FC236}">
                <a16:creationId xmlns:a16="http://schemas.microsoft.com/office/drawing/2014/main" id="{0E34736C-BF58-41B2-94A8-8B1C4A9BAA0D}"/>
              </a:ext>
            </a:extLst>
          </p:cNvPr>
          <p:cNvSpPr txBox="1"/>
          <p:nvPr/>
        </p:nvSpPr>
        <p:spPr>
          <a:xfrm>
            <a:off x="181785" y="3281432"/>
            <a:ext cx="2538516"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rgbClr val="808080">
                    <a:lumMod val="40000"/>
                    <a:lumOff val="60000"/>
                  </a:srgbClr>
                </a:solidFill>
                <a:latin typeface="Lato  "/>
              </a:rPr>
              <a:t>5- les cartes de Contrôle</a:t>
            </a:r>
          </a:p>
        </p:txBody>
      </p:sp>
      <p:grpSp>
        <p:nvGrpSpPr>
          <p:cNvPr id="3" name="Group 124">
            <a:extLst>
              <a:ext uri="{FF2B5EF4-FFF2-40B4-BE49-F238E27FC236}">
                <a16:creationId xmlns:a16="http://schemas.microsoft.com/office/drawing/2014/main" id="{C7C35A50-1E65-A91A-30AD-96976D46D02B}"/>
              </a:ext>
            </a:extLst>
          </p:cNvPr>
          <p:cNvGrpSpPr/>
          <p:nvPr/>
        </p:nvGrpSpPr>
        <p:grpSpPr>
          <a:xfrm>
            <a:off x="350184" y="347366"/>
            <a:ext cx="11727436" cy="5621634"/>
            <a:chOff x="269798" y="1094461"/>
            <a:chExt cx="11727436" cy="5621634"/>
          </a:xfrm>
        </p:grpSpPr>
        <p:grpSp>
          <p:nvGrpSpPr>
            <p:cNvPr id="5" name="Group 118">
              <a:extLst>
                <a:ext uri="{FF2B5EF4-FFF2-40B4-BE49-F238E27FC236}">
                  <a16:creationId xmlns:a16="http://schemas.microsoft.com/office/drawing/2014/main" id="{CB8EF785-2E0D-EE1C-1906-10916F5C626A}"/>
                </a:ext>
              </a:extLst>
            </p:cNvPr>
            <p:cNvGrpSpPr/>
            <p:nvPr/>
          </p:nvGrpSpPr>
          <p:grpSpPr>
            <a:xfrm>
              <a:off x="269798" y="1094461"/>
              <a:ext cx="11727436" cy="5621634"/>
              <a:chOff x="269798" y="1094461"/>
              <a:chExt cx="11727436" cy="5621634"/>
            </a:xfrm>
          </p:grpSpPr>
          <p:grpSp>
            <p:nvGrpSpPr>
              <p:cNvPr id="7" name="Group 34">
                <a:extLst>
                  <a:ext uri="{FF2B5EF4-FFF2-40B4-BE49-F238E27FC236}">
                    <a16:creationId xmlns:a16="http://schemas.microsoft.com/office/drawing/2014/main" id="{0C326D35-483A-6A1B-11CF-0A2BE55C616F}"/>
                  </a:ext>
                </a:extLst>
              </p:cNvPr>
              <p:cNvGrpSpPr/>
              <p:nvPr/>
            </p:nvGrpSpPr>
            <p:grpSpPr>
              <a:xfrm>
                <a:off x="269798" y="1094461"/>
                <a:ext cx="11727436" cy="5621634"/>
                <a:chOff x="173303" y="78947"/>
                <a:chExt cx="11722554" cy="6666673"/>
              </a:xfrm>
            </p:grpSpPr>
            <p:cxnSp>
              <p:nvCxnSpPr>
                <p:cNvPr id="9" name="Straight Arrow Connector 37">
                  <a:extLst>
                    <a:ext uri="{FF2B5EF4-FFF2-40B4-BE49-F238E27FC236}">
                      <a16:creationId xmlns:a16="http://schemas.microsoft.com/office/drawing/2014/main" id="{963C9434-5127-9336-4692-F03870F2789E}"/>
                    </a:ext>
                  </a:extLst>
                </p:cNvPr>
                <p:cNvCxnSpPr>
                  <a:cxnSpLocks/>
                </p:cNvCxnSpPr>
                <p:nvPr/>
              </p:nvCxnSpPr>
              <p:spPr>
                <a:xfrm flipV="1">
                  <a:off x="190156" y="3567277"/>
                  <a:ext cx="9805758" cy="62941"/>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38">
                  <a:extLst>
                    <a:ext uri="{FF2B5EF4-FFF2-40B4-BE49-F238E27FC236}">
                      <a16:creationId xmlns:a16="http://schemas.microsoft.com/office/drawing/2014/main" id="{3DE46765-759D-BDA6-1455-5C912811B6B2}"/>
                    </a:ext>
                  </a:extLst>
                </p:cNvPr>
                <p:cNvCxnSpPr>
                  <a:cxnSpLocks/>
                  <a:stCxn id="19" idx="2"/>
                </p:cNvCxnSpPr>
                <p:nvPr/>
              </p:nvCxnSpPr>
              <p:spPr>
                <a:xfrm>
                  <a:off x="2438857" y="529307"/>
                  <a:ext cx="1244315" cy="3080016"/>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39">
                  <a:extLst>
                    <a:ext uri="{FF2B5EF4-FFF2-40B4-BE49-F238E27FC236}">
                      <a16:creationId xmlns:a16="http://schemas.microsoft.com/office/drawing/2014/main" id="{F79E51C5-C062-86EB-D350-42728C4702A2}"/>
                    </a:ext>
                  </a:extLst>
                </p:cNvPr>
                <p:cNvCxnSpPr>
                  <a:cxnSpLocks/>
                </p:cNvCxnSpPr>
                <p:nvPr/>
              </p:nvCxnSpPr>
              <p:spPr>
                <a:xfrm>
                  <a:off x="6225769" y="509055"/>
                  <a:ext cx="920937" cy="3130017"/>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7" name="Straight Arrow Connector 40">
                  <a:extLst>
                    <a:ext uri="{FF2B5EF4-FFF2-40B4-BE49-F238E27FC236}">
                      <a16:creationId xmlns:a16="http://schemas.microsoft.com/office/drawing/2014/main" id="{03C3CB8A-AD5E-2DAB-C221-7D6B0A553DB1}"/>
                    </a:ext>
                  </a:extLst>
                </p:cNvPr>
                <p:cNvCxnSpPr>
                  <a:cxnSpLocks/>
                  <a:stCxn id="22" idx="0"/>
                </p:cNvCxnSpPr>
                <p:nvPr/>
              </p:nvCxnSpPr>
              <p:spPr>
                <a:xfrm flipV="1">
                  <a:off x="3638007" y="3603009"/>
                  <a:ext cx="1331181" cy="2773279"/>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8" name="Straight Arrow Connector 41">
                  <a:extLst>
                    <a:ext uri="{FF2B5EF4-FFF2-40B4-BE49-F238E27FC236}">
                      <a16:creationId xmlns:a16="http://schemas.microsoft.com/office/drawing/2014/main" id="{261CE830-380D-0207-C30F-A79E85B2876A}"/>
                    </a:ext>
                  </a:extLst>
                </p:cNvPr>
                <p:cNvCxnSpPr>
                  <a:cxnSpLocks/>
                  <a:stCxn id="23" idx="0"/>
                </p:cNvCxnSpPr>
                <p:nvPr/>
              </p:nvCxnSpPr>
              <p:spPr>
                <a:xfrm flipV="1">
                  <a:off x="7279154" y="3603009"/>
                  <a:ext cx="1448516" cy="275334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9" name="TextBox 42">
                  <a:extLst>
                    <a:ext uri="{FF2B5EF4-FFF2-40B4-BE49-F238E27FC236}">
                      <a16:creationId xmlns:a16="http://schemas.microsoft.com/office/drawing/2014/main" id="{46AA6712-F089-3742-3CF4-EB724B904A49}"/>
                    </a:ext>
                  </a:extLst>
                </p:cNvPr>
                <p:cNvSpPr txBox="1"/>
                <p:nvPr/>
              </p:nvSpPr>
              <p:spPr>
                <a:xfrm>
                  <a:off x="1850381" y="159975"/>
                  <a:ext cx="1176951" cy="369332"/>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b="1" dirty="0">
                      <a:solidFill>
                        <a:schemeClr val="tx1"/>
                      </a:solidFill>
                      <a:latin typeface="Times New Roman" panose="02020603050405020304" pitchFamily="18" charset="0"/>
                      <a:cs typeface="Times New Roman" panose="02020603050405020304" pitchFamily="18" charset="0"/>
                    </a:rPr>
                    <a:t>Méthodes</a:t>
                  </a:r>
                </a:p>
              </p:txBody>
            </p:sp>
            <p:sp>
              <p:nvSpPr>
                <p:cNvPr id="20" name="TextBox 44">
                  <a:extLst>
                    <a:ext uri="{FF2B5EF4-FFF2-40B4-BE49-F238E27FC236}">
                      <a16:creationId xmlns:a16="http://schemas.microsoft.com/office/drawing/2014/main" id="{CA137FDD-2F7E-397B-262F-4B1638ECA68D}"/>
                    </a:ext>
                  </a:extLst>
                </p:cNvPr>
                <p:cNvSpPr txBox="1"/>
                <p:nvPr/>
              </p:nvSpPr>
              <p:spPr>
                <a:xfrm>
                  <a:off x="5553335" y="78947"/>
                  <a:ext cx="1176951" cy="369332"/>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b="1" dirty="0">
                      <a:solidFill>
                        <a:schemeClr val="tx1"/>
                      </a:solidFill>
                      <a:latin typeface="Times New Roman" panose="02020603050405020304" pitchFamily="18" charset="0"/>
                      <a:cs typeface="Times New Roman" panose="02020603050405020304" pitchFamily="18" charset="0"/>
                    </a:rPr>
                    <a:t>Moyens</a:t>
                  </a:r>
                </a:p>
              </p:txBody>
            </p:sp>
            <p:sp>
              <p:nvSpPr>
                <p:cNvPr id="21" name="TextBox 45">
                  <a:extLst>
                    <a:ext uri="{FF2B5EF4-FFF2-40B4-BE49-F238E27FC236}">
                      <a16:creationId xmlns:a16="http://schemas.microsoft.com/office/drawing/2014/main" id="{B70AC7FB-1823-7BE8-7B29-9ACB6DAA3873}"/>
                    </a:ext>
                  </a:extLst>
                </p:cNvPr>
                <p:cNvSpPr txBox="1"/>
                <p:nvPr/>
              </p:nvSpPr>
              <p:spPr>
                <a:xfrm>
                  <a:off x="483929" y="6376288"/>
                  <a:ext cx="1176951" cy="369332"/>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b="1" dirty="0">
                      <a:solidFill>
                        <a:schemeClr val="tx1"/>
                      </a:solidFill>
                      <a:latin typeface="Times New Roman" panose="02020603050405020304" pitchFamily="18" charset="0"/>
                      <a:cs typeface="Times New Roman" panose="02020603050405020304" pitchFamily="18" charset="0"/>
                    </a:rPr>
                    <a:t>Matière</a:t>
                  </a:r>
                </a:p>
              </p:txBody>
            </p:sp>
            <p:sp>
              <p:nvSpPr>
                <p:cNvPr id="22" name="TextBox 47">
                  <a:extLst>
                    <a:ext uri="{FF2B5EF4-FFF2-40B4-BE49-F238E27FC236}">
                      <a16:creationId xmlns:a16="http://schemas.microsoft.com/office/drawing/2014/main" id="{45ABF525-554C-6EFA-D91D-9CDCC08D0F79}"/>
                    </a:ext>
                  </a:extLst>
                </p:cNvPr>
                <p:cNvSpPr txBox="1"/>
                <p:nvPr/>
              </p:nvSpPr>
              <p:spPr>
                <a:xfrm>
                  <a:off x="3049531" y="6376288"/>
                  <a:ext cx="1176951" cy="369332"/>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b="1" dirty="0">
                      <a:solidFill>
                        <a:schemeClr val="tx1"/>
                      </a:solidFill>
                      <a:latin typeface="Times New Roman" panose="02020603050405020304" pitchFamily="18" charset="0"/>
                      <a:cs typeface="Times New Roman" panose="02020603050405020304" pitchFamily="18" charset="0"/>
                    </a:rPr>
                    <a:t>Milieu</a:t>
                  </a:r>
                </a:p>
              </p:txBody>
            </p:sp>
            <p:sp>
              <p:nvSpPr>
                <p:cNvPr id="23" name="TextBox 49">
                  <a:extLst>
                    <a:ext uri="{FF2B5EF4-FFF2-40B4-BE49-F238E27FC236}">
                      <a16:creationId xmlns:a16="http://schemas.microsoft.com/office/drawing/2014/main" id="{1D33747F-CE30-8B39-872D-4F29E8F6C8FF}"/>
                    </a:ext>
                  </a:extLst>
                </p:cNvPr>
                <p:cNvSpPr txBox="1"/>
                <p:nvPr/>
              </p:nvSpPr>
              <p:spPr>
                <a:xfrm>
                  <a:off x="6451503" y="6356349"/>
                  <a:ext cx="1655301" cy="369332"/>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b="1" dirty="0">
                      <a:solidFill>
                        <a:schemeClr val="tx1"/>
                      </a:solidFill>
                      <a:latin typeface="Times New Roman" panose="02020603050405020304" pitchFamily="18" charset="0"/>
                      <a:cs typeface="Times New Roman" panose="02020603050405020304" pitchFamily="18" charset="0"/>
                    </a:rPr>
                    <a:t>Main d'œuvre</a:t>
                  </a:r>
                </a:p>
              </p:txBody>
            </p:sp>
            <p:sp>
              <p:nvSpPr>
                <p:cNvPr id="24" name="TextBox 60">
                  <a:extLst>
                    <a:ext uri="{FF2B5EF4-FFF2-40B4-BE49-F238E27FC236}">
                      <a16:creationId xmlns:a16="http://schemas.microsoft.com/office/drawing/2014/main" id="{913079C8-A297-0748-0393-B6ECC69F1402}"/>
                    </a:ext>
                  </a:extLst>
                </p:cNvPr>
                <p:cNvSpPr txBox="1"/>
                <p:nvPr/>
              </p:nvSpPr>
              <p:spPr>
                <a:xfrm>
                  <a:off x="10040753" y="3245256"/>
                  <a:ext cx="1855104" cy="693482"/>
                </a:xfrm>
                <a:prstGeom prst="rect">
                  <a:avLst/>
                </a:prstGeom>
                <a:solidFill>
                  <a:schemeClr val="accent2">
                    <a:lumMod val="60000"/>
                    <a:lumOff val="40000"/>
                  </a:schemeClr>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fr-FR" sz="1600" b="1" dirty="0">
                      <a:solidFill>
                        <a:schemeClr val="tx1"/>
                      </a:solidFill>
                      <a:latin typeface="Times New Roman" panose="02020603050405020304" pitchFamily="18" charset="0"/>
                      <a:cs typeface="Times New Roman" panose="02020603050405020304" pitchFamily="18" charset="0"/>
                    </a:rPr>
                    <a:t>Manque de la formation pratique</a:t>
                  </a:r>
                </a:p>
              </p:txBody>
            </p:sp>
            <p:sp>
              <p:nvSpPr>
                <p:cNvPr id="25" name="Rectangle 24">
                  <a:extLst>
                    <a:ext uri="{FF2B5EF4-FFF2-40B4-BE49-F238E27FC236}">
                      <a16:creationId xmlns:a16="http://schemas.microsoft.com/office/drawing/2014/main" id="{9974720A-99BB-EFEC-B0FF-0A577E1F7582}"/>
                    </a:ext>
                  </a:extLst>
                </p:cNvPr>
                <p:cNvSpPr/>
                <p:nvPr/>
              </p:nvSpPr>
              <p:spPr>
                <a:xfrm>
                  <a:off x="190156" y="825147"/>
                  <a:ext cx="1939225" cy="64725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200" b="1" i="0" dirty="0">
                      <a:solidFill>
                        <a:srgbClr val="0D0D0D"/>
                      </a:solidFill>
                      <a:effectLst/>
                      <a:latin typeface="Times New Roman" panose="02020603050405020304" pitchFamily="18" charset="0"/>
                      <a:cs typeface="Times New Roman" panose="02020603050405020304" pitchFamily="18" charset="0"/>
                    </a:rPr>
                    <a:t>Processus de planification des formations</a:t>
                  </a:r>
                  <a:endParaRPr lang="fr-FR" sz="1200" b="1" dirty="0">
                    <a:latin typeface="Times New Roman" panose="02020603050405020304" pitchFamily="18" charset="0"/>
                    <a:cs typeface="Times New Roman" panose="02020603050405020304" pitchFamily="18" charset="0"/>
                  </a:endParaRPr>
                </a:p>
              </p:txBody>
            </p:sp>
            <p:sp>
              <p:nvSpPr>
                <p:cNvPr id="26" name="Rectangle 25">
                  <a:extLst>
                    <a:ext uri="{FF2B5EF4-FFF2-40B4-BE49-F238E27FC236}">
                      <a16:creationId xmlns:a16="http://schemas.microsoft.com/office/drawing/2014/main" id="{8E0DA7D0-749F-3CBA-646D-53867B6BF95C}"/>
                    </a:ext>
                  </a:extLst>
                </p:cNvPr>
                <p:cNvSpPr/>
                <p:nvPr/>
              </p:nvSpPr>
              <p:spPr>
                <a:xfrm>
                  <a:off x="173303" y="1995476"/>
                  <a:ext cx="2110817" cy="1130528"/>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200" b="1" i="0" dirty="0">
                      <a:solidFill>
                        <a:srgbClr val="0D0D0D"/>
                      </a:solidFill>
                      <a:effectLst/>
                      <a:latin typeface="Times New Roman" panose="02020603050405020304" pitchFamily="18" charset="0"/>
                      <a:cs typeface="Times New Roman" panose="02020603050405020304" pitchFamily="18" charset="0"/>
                    </a:rPr>
                    <a:t>Manque d'évaluation et de suivi après accomplissement des formations</a:t>
                  </a:r>
                  <a:endParaRPr lang="fr-FR" sz="1200" b="1" dirty="0">
                    <a:solidFill>
                      <a:srgbClr val="FF0000"/>
                    </a:solidFill>
                    <a:latin typeface="Times New Roman" panose="02020603050405020304" pitchFamily="18" charset="0"/>
                    <a:cs typeface="Times New Roman" panose="02020603050405020304" pitchFamily="18" charset="0"/>
                  </a:endParaRPr>
                </a:p>
              </p:txBody>
            </p:sp>
            <p:cxnSp>
              <p:nvCxnSpPr>
                <p:cNvPr id="27" name="Straight Arrow Connector 66">
                  <a:extLst>
                    <a:ext uri="{FF2B5EF4-FFF2-40B4-BE49-F238E27FC236}">
                      <a16:creationId xmlns:a16="http://schemas.microsoft.com/office/drawing/2014/main" id="{A5D0C711-A5D7-712A-8383-BA24FE6291BF}"/>
                    </a:ext>
                  </a:extLst>
                </p:cNvPr>
                <p:cNvCxnSpPr>
                  <a:cxnSpLocks/>
                  <a:stCxn id="25" idx="3"/>
                </p:cNvCxnSpPr>
                <p:nvPr/>
              </p:nvCxnSpPr>
              <p:spPr>
                <a:xfrm>
                  <a:off x="2129381" y="1148773"/>
                  <a:ext cx="53566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68">
                  <a:extLst>
                    <a:ext uri="{FF2B5EF4-FFF2-40B4-BE49-F238E27FC236}">
                      <a16:creationId xmlns:a16="http://schemas.microsoft.com/office/drawing/2014/main" id="{98A03B11-756F-93BF-29E9-BF46354482A6}"/>
                    </a:ext>
                  </a:extLst>
                </p:cNvPr>
                <p:cNvCxnSpPr>
                  <a:cxnSpLocks/>
                </p:cNvCxnSpPr>
                <p:nvPr/>
              </p:nvCxnSpPr>
              <p:spPr>
                <a:xfrm>
                  <a:off x="2284120" y="2643305"/>
                  <a:ext cx="98073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9" name="Rectangle 28">
                  <a:extLst>
                    <a:ext uri="{FF2B5EF4-FFF2-40B4-BE49-F238E27FC236}">
                      <a16:creationId xmlns:a16="http://schemas.microsoft.com/office/drawing/2014/main" id="{2C5213B7-EEF7-ABDE-D26A-69756C1C96DD}"/>
                    </a:ext>
                  </a:extLst>
                </p:cNvPr>
                <p:cNvSpPr/>
                <p:nvPr/>
              </p:nvSpPr>
              <p:spPr>
                <a:xfrm>
                  <a:off x="3481142" y="1487967"/>
                  <a:ext cx="2156495" cy="87706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200" b="1" i="0" dirty="0">
                      <a:solidFill>
                        <a:srgbClr val="0D0D0D"/>
                      </a:solidFill>
                      <a:effectLst/>
                      <a:latin typeface="Times New Roman" panose="02020603050405020304" pitchFamily="18" charset="0"/>
                      <a:cs typeface="Times New Roman" panose="02020603050405020304" pitchFamily="18" charset="0"/>
                    </a:rPr>
                    <a:t>Absence d'une organisation efficace des sessions de formation</a:t>
                  </a:r>
                  <a:endParaRPr lang="fr-FR" sz="1200" b="1" dirty="0">
                    <a:latin typeface="Times New Roman" panose="02020603050405020304" pitchFamily="18" charset="0"/>
                    <a:cs typeface="Times New Roman" panose="02020603050405020304" pitchFamily="18" charset="0"/>
                  </a:endParaRPr>
                </a:p>
              </p:txBody>
            </p:sp>
            <p:cxnSp>
              <p:nvCxnSpPr>
                <p:cNvPr id="30" name="Straight Arrow Connector 71">
                  <a:extLst>
                    <a:ext uri="{FF2B5EF4-FFF2-40B4-BE49-F238E27FC236}">
                      <a16:creationId xmlns:a16="http://schemas.microsoft.com/office/drawing/2014/main" id="{37A31226-F355-5776-DC65-CBA83174B52B}"/>
                    </a:ext>
                  </a:extLst>
                </p:cNvPr>
                <p:cNvCxnSpPr>
                  <a:cxnSpLocks/>
                </p:cNvCxnSpPr>
                <p:nvPr/>
              </p:nvCxnSpPr>
              <p:spPr>
                <a:xfrm flipH="1">
                  <a:off x="2958111" y="1898259"/>
                  <a:ext cx="48637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1" name="Rectangle 30">
                  <a:extLst>
                    <a:ext uri="{FF2B5EF4-FFF2-40B4-BE49-F238E27FC236}">
                      <a16:creationId xmlns:a16="http://schemas.microsoft.com/office/drawing/2014/main" id="{B82FEA9F-2B92-17F6-F28E-3520BC45CE37}"/>
                    </a:ext>
                  </a:extLst>
                </p:cNvPr>
                <p:cNvSpPr/>
                <p:nvPr/>
              </p:nvSpPr>
              <p:spPr>
                <a:xfrm>
                  <a:off x="8054333" y="689604"/>
                  <a:ext cx="1910868" cy="83719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200" b="1" i="0" dirty="0">
                      <a:solidFill>
                        <a:srgbClr val="0D0D0D"/>
                      </a:solidFill>
                      <a:effectLst/>
                      <a:latin typeface="Times New Roman" panose="02020603050405020304" pitchFamily="18" charset="0"/>
                      <a:cs typeface="Times New Roman" panose="02020603050405020304" pitchFamily="18" charset="0"/>
                    </a:rPr>
                    <a:t>Manque des quiz et tests pratiques</a:t>
                  </a:r>
                  <a:endParaRPr lang="fr-FR" sz="1200" b="1" dirty="0">
                    <a:solidFill>
                      <a:srgbClr val="FF0000"/>
                    </a:solidFill>
                    <a:latin typeface="Times New Roman" panose="02020603050405020304" pitchFamily="18" charset="0"/>
                    <a:cs typeface="Times New Roman" panose="02020603050405020304" pitchFamily="18" charset="0"/>
                  </a:endParaRPr>
                </a:p>
              </p:txBody>
            </p:sp>
            <p:cxnSp>
              <p:nvCxnSpPr>
                <p:cNvPr id="32" name="Straight Arrow Connector 80">
                  <a:extLst>
                    <a:ext uri="{FF2B5EF4-FFF2-40B4-BE49-F238E27FC236}">
                      <a16:creationId xmlns:a16="http://schemas.microsoft.com/office/drawing/2014/main" id="{EB2204E0-6283-78E1-57DE-4A941C036C4E}"/>
                    </a:ext>
                  </a:extLst>
                </p:cNvPr>
                <p:cNvCxnSpPr>
                  <a:cxnSpLocks/>
                  <a:stCxn id="31" idx="1"/>
                </p:cNvCxnSpPr>
                <p:nvPr/>
              </p:nvCxnSpPr>
              <p:spPr>
                <a:xfrm flipH="1">
                  <a:off x="6451503" y="1108203"/>
                  <a:ext cx="1602830" cy="139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3" name="Straight Arrow Connector 82">
                  <a:extLst>
                    <a:ext uri="{FF2B5EF4-FFF2-40B4-BE49-F238E27FC236}">
                      <a16:creationId xmlns:a16="http://schemas.microsoft.com/office/drawing/2014/main" id="{81A32164-4D59-4BAA-E598-37DAF6CE050B}"/>
                    </a:ext>
                  </a:extLst>
                </p:cNvPr>
                <p:cNvCxnSpPr>
                  <a:cxnSpLocks/>
                  <a:stCxn id="6" idx="1"/>
                </p:cNvCxnSpPr>
                <p:nvPr/>
              </p:nvCxnSpPr>
              <p:spPr>
                <a:xfrm flipH="1">
                  <a:off x="6795056" y="2419881"/>
                  <a:ext cx="1414976" cy="1763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4" name="Straight Arrow Connector 85">
                  <a:extLst>
                    <a:ext uri="{FF2B5EF4-FFF2-40B4-BE49-F238E27FC236}">
                      <a16:creationId xmlns:a16="http://schemas.microsoft.com/office/drawing/2014/main" id="{4E1758DB-BF31-DC25-695B-A6857204B743}"/>
                    </a:ext>
                  </a:extLst>
                </p:cNvPr>
                <p:cNvCxnSpPr>
                  <a:cxnSpLocks/>
                </p:cNvCxnSpPr>
                <p:nvPr/>
              </p:nvCxnSpPr>
              <p:spPr>
                <a:xfrm flipV="1">
                  <a:off x="1067142" y="3622948"/>
                  <a:ext cx="1339672" cy="275334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35" name="Straight Arrow Connector 102">
                  <a:extLst>
                    <a:ext uri="{FF2B5EF4-FFF2-40B4-BE49-F238E27FC236}">
                      <a16:creationId xmlns:a16="http://schemas.microsoft.com/office/drawing/2014/main" id="{F5D4B92E-4DED-5E77-D2EC-5CC594CBFDB5}"/>
                    </a:ext>
                  </a:extLst>
                </p:cNvPr>
                <p:cNvCxnSpPr>
                  <a:cxnSpLocks/>
                </p:cNvCxnSpPr>
                <p:nvPr/>
              </p:nvCxnSpPr>
              <p:spPr>
                <a:xfrm flipH="1">
                  <a:off x="8003411" y="5073599"/>
                  <a:ext cx="117490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6" name="Rectangle 35">
                  <a:extLst>
                    <a:ext uri="{FF2B5EF4-FFF2-40B4-BE49-F238E27FC236}">
                      <a16:creationId xmlns:a16="http://schemas.microsoft.com/office/drawing/2014/main" id="{0F7DC0F7-7001-072E-44C5-BEFDFD8AA791}"/>
                    </a:ext>
                  </a:extLst>
                </p:cNvPr>
                <p:cNvSpPr/>
                <p:nvPr/>
              </p:nvSpPr>
              <p:spPr>
                <a:xfrm>
                  <a:off x="197034" y="3802475"/>
                  <a:ext cx="1454771" cy="1232486"/>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400" b="1" i="0" dirty="0">
                      <a:solidFill>
                        <a:srgbClr val="0D0D0D"/>
                      </a:solidFill>
                      <a:effectLst/>
                      <a:latin typeface="Times New Roman" panose="02020603050405020304" pitchFamily="18" charset="0"/>
                      <a:cs typeface="Times New Roman" panose="02020603050405020304" pitchFamily="18" charset="0"/>
                    </a:rPr>
                    <a:t>Le contenu des formations manque de praticité</a:t>
                  </a:r>
                  <a:endParaRPr lang="fr-FR" sz="1400" b="1" dirty="0">
                    <a:solidFill>
                      <a:srgbClr val="FF0000"/>
                    </a:solidFill>
                    <a:latin typeface="Times New Roman" panose="02020603050405020304" pitchFamily="18" charset="0"/>
                    <a:cs typeface="Times New Roman" panose="02020603050405020304" pitchFamily="18" charset="0"/>
                  </a:endParaRPr>
                </a:p>
              </p:txBody>
            </p:sp>
            <p:cxnSp>
              <p:nvCxnSpPr>
                <p:cNvPr id="37" name="Straight Arrow Connector 110">
                  <a:extLst>
                    <a:ext uri="{FF2B5EF4-FFF2-40B4-BE49-F238E27FC236}">
                      <a16:creationId xmlns:a16="http://schemas.microsoft.com/office/drawing/2014/main" id="{9E3541F9-AE7C-2B53-C1C3-35F7C154AEB6}"/>
                    </a:ext>
                  </a:extLst>
                </p:cNvPr>
                <p:cNvCxnSpPr>
                  <a:cxnSpLocks/>
                </p:cNvCxnSpPr>
                <p:nvPr/>
              </p:nvCxnSpPr>
              <p:spPr>
                <a:xfrm>
                  <a:off x="1645545" y="4328016"/>
                  <a:ext cx="38557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8" name="Rectangle 37">
                  <a:extLst>
                    <a:ext uri="{FF2B5EF4-FFF2-40B4-BE49-F238E27FC236}">
                      <a16:creationId xmlns:a16="http://schemas.microsoft.com/office/drawing/2014/main" id="{A31028BC-961A-1207-C19A-CAA49180B6A7}"/>
                    </a:ext>
                  </a:extLst>
                </p:cNvPr>
                <p:cNvSpPr/>
                <p:nvPr/>
              </p:nvSpPr>
              <p:spPr>
                <a:xfrm>
                  <a:off x="2448067" y="4034044"/>
                  <a:ext cx="1564409" cy="88360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200" b="1" i="0" dirty="0">
                      <a:solidFill>
                        <a:srgbClr val="0D0D0D"/>
                      </a:solidFill>
                      <a:effectLst/>
                      <a:latin typeface="Times New Roman" panose="02020603050405020304" pitchFamily="18" charset="0"/>
                      <a:cs typeface="Times New Roman" panose="02020603050405020304" pitchFamily="18" charset="0"/>
                    </a:rPr>
                    <a:t>La charge de travail des formateurs</a:t>
                  </a:r>
                  <a:endParaRPr lang="fr-FR" sz="1200" b="1" dirty="0">
                    <a:solidFill>
                      <a:srgbClr val="FF0000"/>
                    </a:solidFill>
                    <a:latin typeface="Times New Roman" panose="02020603050405020304" pitchFamily="18" charset="0"/>
                    <a:cs typeface="Times New Roman" panose="02020603050405020304" pitchFamily="18" charset="0"/>
                  </a:endParaRPr>
                </a:p>
              </p:txBody>
            </p:sp>
          </p:grpSp>
          <p:sp>
            <p:nvSpPr>
              <p:cNvPr id="8" name="Rectangle 7">
                <a:extLst>
                  <a:ext uri="{FF2B5EF4-FFF2-40B4-BE49-F238E27FC236}">
                    <a16:creationId xmlns:a16="http://schemas.microsoft.com/office/drawing/2014/main" id="{D3189C82-38F6-8451-A24A-461EB26D72AD}"/>
                  </a:ext>
                </a:extLst>
              </p:cNvPr>
              <p:cNvSpPr/>
              <p:nvPr/>
            </p:nvSpPr>
            <p:spPr>
              <a:xfrm>
                <a:off x="4813529" y="5573563"/>
                <a:ext cx="2080780" cy="62183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200" b="1" i="0" dirty="0">
                    <a:solidFill>
                      <a:srgbClr val="0D0D0D"/>
                    </a:solidFill>
                    <a:effectLst/>
                    <a:latin typeface="Times New Roman" panose="02020603050405020304" pitchFamily="18" charset="0"/>
                    <a:cs typeface="Times New Roman" panose="02020603050405020304" pitchFamily="18" charset="0"/>
                  </a:rPr>
                  <a:t>Absence d’une interface structurée qui englobe toutes les formations</a:t>
                </a:r>
                <a:endParaRPr lang="fr-FR" sz="1200" b="1" dirty="0">
                  <a:solidFill>
                    <a:srgbClr val="FF0000"/>
                  </a:solidFill>
                  <a:latin typeface="Times New Roman" panose="02020603050405020304" pitchFamily="18" charset="0"/>
                  <a:cs typeface="Times New Roman" panose="02020603050405020304" pitchFamily="18" charset="0"/>
                </a:endParaRPr>
              </a:p>
            </p:txBody>
          </p:sp>
        </p:grpSp>
        <p:sp>
          <p:nvSpPr>
            <p:cNvPr id="6" name="Rectangle 5">
              <a:extLst>
                <a:ext uri="{FF2B5EF4-FFF2-40B4-BE49-F238E27FC236}">
                  <a16:creationId xmlns:a16="http://schemas.microsoft.com/office/drawing/2014/main" id="{FC8038EB-21B3-F001-377A-BF438F68C2EB}"/>
                </a:ext>
              </a:extLst>
            </p:cNvPr>
            <p:cNvSpPr/>
            <p:nvPr/>
          </p:nvSpPr>
          <p:spPr>
            <a:xfrm>
              <a:off x="8309874" y="2772828"/>
              <a:ext cx="1953691" cy="59122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200" b="1" i="0" dirty="0">
                  <a:solidFill>
                    <a:srgbClr val="0D0D0D"/>
                  </a:solidFill>
                  <a:effectLst/>
                  <a:latin typeface="Times New Roman" panose="02020603050405020304" pitchFamily="18" charset="0"/>
                  <a:cs typeface="Times New Roman" panose="02020603050405020304" pitchFamily="18" charset="0"/>
                </a:rPr>
                <a:t>Insuffisance de retours d'expérience (RETEX) </a:t>
              </a:r>
              <a:endParaRPr lang="fr-FR" sz="1200" b="1" dirty="0">
                <a:latin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12932369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3" presetClass="entr" presetSubtype="0" fill="hold" grpId="0" nodeType="after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fade">
                                      <p:cBhvr>
                                        <p:cTn id="7" dur="100"/>
                                        <p:tgtEl>
                                          <p:spTgt spid="127"/>
                                        </p:tgtEl>
                                      </p:cBhvr>
                                    </p:animEffect>
                                    <p:anim calcmode="lin" valueType="num">
                                      <p:cBhvr>
                                        <p:cTn id="8" dur="400" fill="hold"/>
                                        <p:tgtEl>
                                          <p:spTgt spid="127"/>
                                        </p:tgtEl>
                                        <p:attrNameLst>
                                          <p:attrName>ppt_x</p:attrName>
                                        </p:attrNameLst>
                                      </p:cBhvr>
                                      <p:tavLst>
                                        <p:tav tm="0">
                                          <p:val>
                                            <p:strVal val="#ppt_x"/>
                                          </p:val>
                                        </p:tav>
                                        <p:tav tm="100000">
                                          <p:val>
                                            <p:strVal val="#ppt_x"/>
                                          </p:val>
                                        </p:tav>
                                      </p:tavLst>
                                    </p:anim>
                                    <p:anim calcmode="lin" valueType="num">
                                      <p:cBhvr>
                                        <p:cTn id="9" dur="400" fill="hold"/>
                                        <p:tgtEl>
                                          <p:spTgt spid="127"/>
                                        </p:tgtEl>
                                        <p:attrNameLst>
                                          <p:attrName>ppt_y</p:attrName>
                                        </p:attrNameLst>
                                      </p:cBhvr>
                                      <p:tavLst>
                                        <p:tav tm="0">
                                          <p:val>
                                            <p:strVal val="#ppt_y+0.31"/>
                                          </p:val>
                                        </p:tav>
                                        <p:tav tm="100000">
                                          <p:val>
                                            <p:strVal val="#ppt_y+0.31"/>
                                          </p:val>
                                        </p:tav>
                                      </p:tavLst>
                                    </p:anim>
                                    <p:anim calcmode="lin" valueType="num">
                                      <p:cBhvr>
                                        <p:cTn id="10" dur="600" decel="50000" fill="hold">
                                          <p:stCondLst>
                                            <p:cond delay="400"/>
                                          </p:stCondLst>
                                        </p:cTn>
                                        <p:tgtEl>
                                          <p:spTgt spid="127"/>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11" dur="600" decel="50000" fill="hold">
                                          <p:stCondLst>
                                            <p:cond delay="400"/>
                                          </p:stCondLst>
                                        </p:cTn>
                                        <p:tgtEl>
                                          <p:spTgt spid="127"/>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par>
                                <p:cTn id="12" presetID="43" presetClass="entr" presetSubtype="0" fill="hold" grpId="0" nodeType="withEffect">
                                  <p:stCondLst>
                                    <p:cond delay="0"/>
                                  </p:stCondLst>
                                  <p:childTnLst>
                                    <p:set>
                                      <p:cBhvr>
                                        <p:cTn id="13" dur="1" fill="hold">
                                          <p:stCondLst>
                                            <p:cond delay="0"/>
                                          </p:stCondLst>
                                        </p:cTn>
                                        <p:tgtEl>
                                          <p:spTgt spid="126"/>
                                        </p:tgtEl>
                                        <p:attrNameLst>
                                          <p:attrName>style.visibility</p:attrName>
                                        </p:attrNameLst>
                                      </p:cBhvr>
                                      <p:to>
                                        <p:strVal val="visible"/>
                                      </p:to>
                                    </p:set>
                                    <p:animEffect transition="in" filter="fade">
                                      <p:cBhvr>
                                        <p:cTn id="14" dur="100"/>
                                        <p:tgtEl>
                                          <p:spTgt spid="126"/>
                                        </p:tgtEl>
                                      </p:cBhvr>
                                    </p:animEffect>
                                    <p:anim calcmode="lin" valueType="num">
                                      <p:cBhvr>
                                        <p:cTn id="15" dur="400" fill="hold"/>
                                        <p:tgtEl>
                                          <p:spTgt spid="126"/>
                                        </p:tgtEl>
                                        <p:attrNameLst>
                                          <p:attrName>ppt_x</p:attrName>
                                        </p:attrNameLst>
                                      </p:cBhvr>
                                      <p:tavLst>
                                        <p:tav tm="0">
                                          <p:val>
                                            <p:strVal val="#ppt_x"/>
                                          </p:val>
                                        </p:tav>
                                        <p:tav tm="100000">
                                          <p:val>
                                            <p:strVal val="#ppt_x"/>
                                          </p:val>
                                        </p:tav>
                                      </p:tavLst>
                                    </p:anim>
                                    <p:anim calcmode="lin" valueType="num">
                                      <p:cBhvr>
                                        <p:cTn id="16" dur="400" fill="hold"/>
                                        <p:tgtEl>
                                          <p:spTgt spid="126"/>
                                        </p:tgtEl>
                                        <p:attrNameLst>
                                          <p:attrName>ppt_y</p:attrName>
                                        </p:attrNameLst>
                                      </p:cBhvr>
                                      <p:tavLst>
                                        <p:tav tm="0">
                                          <p:val>
                                            <p:strVal val="#ppt_y+0.31"/>
                                          </p:val>
                                        </p:tav>
                                        <p:tav tm="100000">
                                          <p:val>
                                            <p:strVal val="#ppt_y+0.31"/>
                                          </p:val>
                                        </p:tav>
                                      </p:tavLst>
                                    </p:anim>
                                    <p:anim calcmode="lin" valueType="num">
                                      <p:cBhvr>
                                        <p:cTn id="17" dur="600" decel="50000" fill="hold">
                                          <p:stCondLst>
                                            <p:cond delay="400"/>
                                          </p:stCondLst>
                                        </p:cTn>
                                        <p:tgtEl>
                                          <p:spTgt spid="126"/>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18" dur="600" decel="50000" fill="hold">
                                          <p:stCondLst>
                                            <p:cond delay="400"/>
                                          </p:stCondLst>
                                        </p:cTn>
                                        <p:tgtEl>
                                          <p:spTgt spid="126"/>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par>
                                <p:cTn id="19" presetID="43"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animEffect transition="in" filter="fade">
                                      <p:cBhvr>
                                        <p:cTn id="21" dur="100"/>
                                        <p:tgtEl>
                                          <p:spTgt spid="130"/>
                                        </p:tgtEl>
                                      </p:cBhvr>
                                    </p:animEffect>
                                    <p:anim calcmode="lin" valueType="num">
                                      <p:cBhvr>
                                        <p:cTn id="22" dur="400" fill="hold"/>
                                        <p:tgtEl>
                                          <p:spTgt spid="130"/>
                                        </p:tgtEl>
                                        <p:attrNameLst>
                                          <p:attrName>ppt_x</p:attrName>
                                        </p:attrNameLst>
                                      </p:cBhvr>
                                      <p:tavLst>
                                        <p:tav tm="0">
                                          <p:val>
                                            <p:strVal val="#ppt_x"/>
                                          </p:val>
                                        </p:tav>
                                        <p:tav tm="100000">
                                          <p:val>
                                            <p:strVal val="#ppt_x"/>
                                          </p:val>
                                        </p:tav>
                                      </p:tavLst>
                                    </p:anim>
                                    <p:anim calcmode="lin" valueType="num">
                                      <p:cBhvr>
                                        <p:cTn id="23" dur="400" fill="hold"/>
                                        <p:tgtEl>
                                          <p:spTgt spid="130"/>
                                        </p:tgtEl>
                                        <p:attrNameLst>
                                          <p:attrName>ppt_y</p:attrName>
                                        </p:attrNameLst>
                                      </p:cBhvr>
                                      <p:tavLst>
                                        <p:tav tm="0">
                                          <p:val>
                                            <p:strVal val="#ppt_y+0.31"/>
                                          </p:val>
                                        </p:tav>
                                        <p:tav tm="100000">
                                          <p:val>
                                            <p:strVal val="#ppt_y+0.31"/>
                                          </p:val>
                                        </p:tav>
                                      </p:tavLst>
                                    </p:anim>
                                    <p:anim calcmode="lin" valueType="num">
                                      <p:cBhvr>
                                        <p:cTn id="24" dur="600" decel="50000" fill="hold">
                                          <p:stCondLst>
                                            <p:cond delay="400"/>
                                          </p:stCondLst>
                                        </p:cTn>
                                        <p:tgtEl>
                                          <p:spTgt spid="130"/>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25" dur="600" decel="50000" fill="hold">
                                          <p:stCondLst>
                                            <p:cond delay="400"/>
                                          </p:stCondLst>
                                        </p:cTn>
                                        <p:tgtEl>
                                          <p:spTgt spid="130"/>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par>
                                <p:cTn id="26" presetID="43" presetClass="entr" presetSubtype="0" fill="hold" grpId="0" nodeType="withEffect">
                                  <p:stCondLst>
                                    <p:cond delay="0"/>
                                  </p:stCondLst>
                                  <p:childTnLst>
                                    <p:set>
                                      <p:cBhvr>
                                        <p:cTn id="27" dur="1" fill="hold">
                                          <p:stCondLst>
                                            <p:cond delay="0"/>
                                          </p:stCondLst>
                                        </p:cTn>
                                        <p:tgtEl>
                                          <p:spTgt spid="131"/>
                                        </p:tgtEl>
                                        <p:attrNameLst>
                                          <p:attrName>style.visibility</p:attrName>
                                        </p:attrNameLst>
                                      </p:cBhvr>
                                      <p:to>
                                        <p:strVal val="visible"/>
                                      </p:to>
                                    </p:set>
                                    <p:animEffect transition="in" filter="fade">
                                      <p:cBhvr>
                                        <p:cTn id="28" dur="100"/>
                                        <p:tgtEl>
                                          <p:spTgt spid="131"/>
                                        </p:tgtEl>
                                      </p:cBhvr>
                                    </p:animEffect>
                                    <p:anim calcmode="lin" valueType="num">
                                      <p:cBhvr>
                                        <p:cTn id="29" dur="400" fill="hold"/>
                                        <p:tgtEl>
                                          <p:spTgt spid="131"/>
                                        </p:tgtEl>
                                        <p:attrNameLst>
                                          <p:attrName>ppt_x</p:attrName>
                                        </p:attrNameLst>
                                      </p:cBhvr>
                                      <p:tavLst>
                                        <p:tav tm="0">
                                          <p:val>
                                            <p:strVal val="#ppt_x"/>
                                          </p:val>
                                        </p:tav>
                                        <p:tav tm="100000">
                                          <p:val>
                                            <p:strVal val="#ppt_x"/>
                                          </p:val>
                                        </p:tav>
                                      </p:tavLst>
                                    </p:anim>
                                    <p:anim calcmode="lin" valueType="num">
                                      <p:cBhvr>
                                        <p:cTn id="30" dur="400" fill="hold"/>
                                        <p:tgtEl>
                                          <p:spTgt spid="131"/>
                                        </p:tgtEl>
                                        <p:attrNameLst>
                                          <p:attrName>ppt_y</p:attrName>
                                        </p:attrNameLst>
                                      </p:cBhvr>
                                      <p:tavLst>
                                        <p:tav tm="0">
                                          <p:val>
                                            <p:strVal val="#ppt_y+0.31"/>
                                          </p:val>
                                        </p:tav>
                                        <p:tav tm="100000">
                                          <p:val>
                                            <p:strVal val="#ppt_y+0.31"/>
                                          </p:val>
                                        </p:tav>
                                      </p:tavLst>
                                    </p:anim>
                                    <p:anim calcmode="lin" valueType="num">
                                      <p:cBhvr>
                                        <p:cTn id="31" dur="600" decel="50000" fill="hold">
                                          <p:stCondLst>
                                            <p:cond delay="400"/>
                                          </p:stCondLst>
                                        </p:cTn>
                                        <p:tgtEl>
                                          <p:spTgt spid="131"/>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32" dur="600" decel="50000" fill="hold">
                                          <p:stCondLst>
                                            <p:cond delay="400"/>
                                          </p:stCondLst>
                                        </p:cTn>
                                        <p:tgtEl>
                                          <p:spTgt spid="131"/>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par>
                                <p:cTn id="33" presetID="43" presetClass="entr" presetSubtype="0" fill="hold" grpId="0" nodeType="withEffect">
                                  <p:stCondLst>
                                    <p:cond delay="0"/>
                                  </p:stCondLst>
                                  <p:childTnLst>
                                    <p:set>
                                      <p:cBhvr>
                                        <p:cTn id="34" dur="1" fill="hold">
                                          <p:stCondLst>
                                            <p:cond delay="0"/>
                                          </p:stCondLst>
                                        </p:cTn>
                                        <p:tgtEl>
                                          <p:spTgt spid="132"/>
                                        </p:tgtEl>
                                        <p:attrNameLst>
                                          <p:attrName>style.visibility</p:attrName>
                                        </p:attrNameLst>
                                      </p:cBhvr>
                                      <p:to>
                                        <p:strVal val="visible"/>
                                      </p:to>
                                    </p:set>
                                    <p:animEffect transition="in" filter="fade">
                                      <p:cBhvr>
                                        <p:cTn id="35" dur="100"/>
                                        <p:tgtEl>
                                          <p:spTgt spid="132"/>
                                        </p:tgtEl>
                                      </p:cBhvr>
                                    </p:animEffect>
                                    <p:anim calcmode="lin" valueType="num">
                                      <p:cBhvr>
                                        <p:cTn id="36" dur="400" fill="hold"/>
                                        <p:tgtEl>
                                          <p:spTgt spid="132"/>
                                        </p:tgtEl>
                                        <p:attrNameLst>
                                          <p:attrName>ppt_x</p:attrName>
                                        </p:attrNameLst>
                                      </p:cBhvr>
                                      <p:tavLst>
                                        <p:tav tm="0">
                                          <p:val>
                                            <p:strVal val="#ppt_x"/>
                                          </p:val>
                                        </p:tav>
                                        <p:tav tm="100000">
                                          <p:val>
                                            <p:strVal val="#ppt_x"/>
                                          </p:val>
                                        </p:tav>
                                      </p:tavLst>
                                    </p:anim>
                                    <p:anim calcmode="lin" valueType="num">
                                      <p:cBhvr>
                                        <p:cTn id="37" dur="400" fill="hold"/>
                                        <p:tgtEl>
                                          <p:spTgt spid="132"/>
                                        </p:tgtEl>
                                        <p:attrNameLst>
                                          <p:attrName>ppt_y</p:attrName>
                                        </p:attrNameLst>
                                      </p:cBhvr>
                                      <p:tavLst>
                                        <p:tav tm="0">
                                          <p:val>
                                            <p:strVal val="#ppt_y+0.31"/>
                                          </p:val>
                                        </p:tav>
                                        <p:tav tm="100000">
                                          <p:val>
                                            <p:strVal val="#ppt_y+0.31"/>
                                          </p:val>
                                        </p:tav>
                                      </p:tavLst>
                                    </p:anim>
                                    <p:anim calcmode="lin" valueType="num">
                                      <p:cBhvr>
                                        <p:cTn id="38" dur="600" decel="50000" fill="hold">
                                          <p:stCondLst>
                                            <p:cond delay="400"/>
                                          </p:stCondLst>
                                        </p:cTn>
                                        <p:tgtEl>
                                          <p:spTgt spid="132"/>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39" dur="600" decel="50000" fill="hold">
                                          <p:stCondLst>
                                            <p:cond delay="400"/>
                                          </p:stCondLst>
                                        </p:cTn>
                                        <p:tgtEl>
                                          <p:spTgt spid="132"/>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childTnLst>
                          </p:cTn>
                        </p:par>
                        <p:par>
                          <p:cTn id="40" fill="hold">
                            <p:stCondLst>
                              <p:cond delay="1000"/>
                            </p:stCondLst>
                            <p:childTnLst>
                              <p:par>
                                <p:cTn id="41" presetID="27" presetClass="emph" presetSubtype="0" fill="remove" grpId="1" nodeType="afterEffect">
                                  <p:stCondLst>
                                    <p:cond delay="0"/>
                                  </p:stCondLst>
                                  <p:childTnLst>
                                    <p:animClr clrSpc="rgb" dir="cw">
                                      <p:cBhvr override="childStyle">
                                        <p:cTn id="42" dur="250" autoRev="1" fill="remove"/>
                                        <p:tgtEl>
                                          <p:spTgt spid="127"/>
                                        </p:tgtEl>
                                        <p:attrNameLst>
                                          <p:attrName>style.color</p:attrName>
                                        </p:attrNameLst>
                                      </p:cBhvr>
                                      <p:to>
                                        <a:schemeClr val="bg1"/>
                                      </p:to>
                                    </p:animClr>
                                    <p:animClr clrSpc="rgb" dir="cw">
                                      <p:cBhvr>
                                        <p:cTn id="43" dur="250" autoRev="1" fill="remove"/>
                                        <p:tgtEl>
                                          <p:spTgt spid="127"/>
                                        </p:tgtEl>
                                        <p:attrNameLst>
                                          <p:attrName>fillcolor</p:attrName>
                                        </p:attrNameLst>
                                      </p:cBhvr>
                                      <p:to>
                                        <a:schemeClr val="bg1"/>
                                      </p:to>
                                    </p:animClr>
                                    <p:set>
                                      <p:cBhvr>
                                        <p:cTn id="44" dur="250" autoRev="1" fill="remove"/>
                                        <p:tgtEl>
                                          <p:spTgt spid="127"/>
                                        </p:tgtEl>
                                        <p:attrNameLst>
                                          <p:attrName>fill.type</p:attrName>
                                        </p:attrNameLst>
                                      </p:cBhvr>
                                      <p:to>
                                        <p:strVal val="solid"/>
                                      </p:to>
                                    </p:set>
                                    <p:set>
                                      <p:cBhvr>
                                        <p:cTn id="45" dur="250" autoRev="1" fill="remove"/>
                                        <p:tgtEl>
                                          <p:spTgt spid="127"/>
                                        </p:tgtEl>
                                        <p:attrNameLst>
                                          <p:attrName>fill.on</p:attrName>
                                        </p:attrNameLst>
                                      </p:cBhvr>
                                      <p:to>
                                        <p:strVal val="true"/>
                                      </p:to>
                                    </p:set>
                                  </p:childTnLst>
                                </p:cTn>
                              </p:par>
                            </p:childTnLst>
                          </p:cTn>
                        </p:par>
                      </p:childTnLst>
                    </p:cTn>
                  </p:par>
                  <p:par>
                    <p:cTn id="46" fill="hold">
                      <p:stCondLst>
                        <p:cond delay="indefinite"/>
                      </p:stCondLst>
                      <p:childTnLst>
                        <p:par>
                          <p:cTn id="47" fill="hold">
                            <p:stCondLst>
                              <p:cond delay="0"/>
                            </p:stCondLst>
                            <p:childTnLst>
                              <p:par>
                                <p:cTn id="48" presetID="2" presetClass="entr" presetSubtype="4" fill="hold" nodeType="clickEffect">
                                  <p:stCondLst>
                                    <p:cond delay="0"/>
                                  </p:stCondLst>
                                  <p:childTnLst>
                                    <p:set>
                                      <p:cBhvr>
                                        <p:cTn id="49" dur="1" fill="hold">
                                          <p:stCondLst>
                                            <p:cond delay="0"/>
                                          </p:stCondLst>
                                        </p:cTn>
                                        <p:tgtEl>
                                          <p:spTgt spid="10"/>
                                        </p:tgtEl>
                                        <p:attrNameLst>
                                          <p:attrName>style.visibility</p:attrName>
                                        </p:attrNameLst>
                                      </p:cBhvr>
                                      <p:to>
                                        <p:strVal val="visible"/>
                                      </p:to>
                                    </p:set>
                                    <p:anim calcmode="lin" valueType="num">
                                      <p:cBhvr additive="base">
                                        <p:cTn id="50" dur="500" fill="hold"/>
                                        <p:tgtEl>
                                          <p:spTgt spid="10"/>
                                        </p:tgtEl>
                                        <p:attrNameLst>
                                          <p:attrName>ppt_x</p:attrName>
                                        </p:attrNameLst>
                                      </p:cBhvr>
                                      <p:tavLst>
                                        <p:tav tm="0">
                                          <p:val>
                                            <p:strVal val="#ppt_x"/>
                                          </p:val>
                                        </p:tav>
                                        <p:tav tm="100000">
                                          <p:val>
                                            <p:strVal val="#ppt_x"/>
                                          </p:val>
                                        </p:tav>
                                      </p:tavLst>
                                    </p:anim>
                                    <p:anim calcmode="lin" valueType="num">
                                      <p:cBhvr additive="base">
                                        <p:cTn id="51"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22" presetClass="exit" presetSubtype="4" fill="hold" nodeType="clickEffect">
                                  <p:stCondLst>
                                    <p:cond delay="0"/>
                                  </p:stCondLst>
                                  <p:childTnLst>
                                    <p:animEffect transition="out" filter="wipe(down)">
                                      <p:cBhvr>
                                        <p:cTn id="55" dur="500"/>
                                        <p:tgtEl>
                                          <p:spTgt spid="10"/>
                                        </p:tgtEl>
                                      </p:cBhvr>
                                    </p:animEffect>
                                    <p:set>
                                      <p:cBhvr>
                                        <p:cTn id="56" dur="1" fill="hold">
                                          <p:stCondLst>
                                            <p:cond delay="499"/>
                                          </p:stCondLst>
                                        </p:cTn>
                                        <p:tgtEl>
                                          <p:spTgt spid="10"/>
                                        </p:tgtEl>
                                        <p:attrNameLst>
                                          <p:attrName>style.visibility</p:attrName>
                                        </p:attrNameLst>
                                      </p:cBhvr>
                                      <p:to>
                                        <p:strVal val="hidden"/>
                                      </p:to>
                                    </p:set>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nodeType="clickEffect">
                                  <p:stCondLst>
                                    <p:cond delay="0"/>
                                  </p:stCondLst>
                                  <p:childTnLst>
                                    <p:set>
                                      <p:cBhvr>
                                        <p:cTn id="60" dur="1" fill="hold">
                                          <p:stCondLst>
                                            <p:cond delay="0"/>
                                          </p:stCondLst>
                                        </p:cTn>
                                        <p:tgtEl>
                                          <p:spTgt spid="3"/>
                                        </p:tgtEl>
                                        <p:attrNameLst>
                                          <p:attrName>style.visibility</p:attrName>
                                        </p:attrNameLst>
                                      </p:cBhvr>
                                      <p:to>
                                        <p:strVal val="visible"/>
                                      </p:to>
                                    </p:set>
                                    <p:animEffect transition="in" filter="fade">
                                      <p:cBhvr>
                                        <p:cTn id="61" dur="1000"/>
                                        <p:tgtEl>
                                          <p:spTgt spid="3"/>
                                        </p:tgtEl>
                                      </p:cBhvr>
                                    </p:animEffect>
                                    <p:anim calcmode="lin" valueType="num">
                                      <p:cBhvr>
                                        <p:cTn id="62" dur="1000" fill="hold"/>
                                        <p:tgtEl>
                                          <p:spTgt spid="3"/>
                                        </p:tgtEl>
                                        <p:attrNameLst>
                                          <p:attrName>ppt_x</p:attrName>
                                        </p:attrNameLst>
                                      </p:cBhvr>
                                      <p:tavLst>
                                        <p:tav tm="0">
                                          <p:val>
                                            <p:strVal val="#ppt_x"/>
                                          </p:val>
                                        </p:tav>
                                        <p:tav tm="100000">
                                          <p:val>
                                            <p:strVal val="#ppt_x"/>
                                          </p:val>
                                        </p:tav>
                                      </p:tavLst>
                                    </p:anim>
                                    <p:anim calcmode="lin" valueType="num">
                                      <p:cBhvr>
                                        <p:cTn id="6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 grpId="0"/>
      <p:bldP spid="127" grpId="0"/>
      <p:bldP spid="127" grpId="1"/>
      <p:bldP spid="130" grpId="0"/>
      <p:bldP spid="131" grpId="0"/>
      <p:bldP spid="13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e 11"/>
          <p:cNvGrpSpPr/>
          <p:nvPr/>
        </p:nvGrpSpPr>
        <p:grpSpPr>
          <a:xfrm>
            <a:off x="1238127" y="668167"/>
            <a:ext cx="1308010" cy="400110"/>
            <a:chOff x="2037715" y="892654"/>
            <a:chExt cx="1127024" cy="400110"/>
          </a:xfrm>
        </p:grpSpPr>
        <p:sp>
          <p:nvSpPr>
            <p:cNvPr id="44" name="ZoneTexte 43"/>
            <p:cNvSpPr txBox="1"/>
            <p:nvPr/>
          </p:nvSpPr>
          <p:spPr>
            <a:xfrm>
              <a:off x="2037715" y="892654"/>
              <a:ext cx="1127024"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Définir</a:t>
              </a:r>
            </a:p>
          </p:txBody>
        </p:sp>
        <p:cxnSp>
          <p:nvCxnSpPr>
            <p:cNvPr id="55" name="Connecteur droit 54"/>
            <p:cNvCxnSpPr/>
            <p:nvPr/>
          </p:nvCxnSpPr>
          <p:spPr>
            <a:xfrm>
              <a:off x="2264795" y="1282860"/>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3" name="Groupe 12"/>
          <p:cNvGrpSpPr/>
          <p:nvPr/>
        </p:nvGrpSpPr>
        <p:grpSpPr>
          <a:xfrm>
            <a:off x="3160124" y="668167"/>
            <a:ext cx="1440667" cy="400110"/>
            <a:chOff x="3959712" y="892654"/>
            <a:chExt cx="1241325" cy="400110"/>
          </a:xfrm>
        </p:grpSpPr>
        <p:sp>
          <p:nvSpPr>
            <p:cNvPr id="47" name="ZoneTexte 46"/>
            <p:cNvSpPr txBox="1"/>
            <p:nvPr/>
          </p:nvSpPr>
          <p:spPr>
            <a:xfrm>
              <a:off x="3959712" y="892654"/>
              <a:ext cx="1241325"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Mesurer</a:t>
              </a:r>
            </a:p>
          </p:txBody>
        </p:sp>
        <p:cxnSp>
          <p:nvCxnSpPr>
            <p:cNvPr id="56" name="Connecteur droit 55"/>
            <p:cNvCxnSpPr/>
            <p:nvPr/>
          </p:nvCxnSpPr>
          <p:spPr>
            <a:xfrm>
              <a:off x="4176722" y="1282860"/>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5" name="Groupe 14"/>
          <p:cNvGrpSpPr/>
          <p:nvPr/>
        </p:nvGrpSpPr>
        <p:grpSpPr>
          <a:xfrm>
            <a:off x="5056397" y="668167"/>
            <a:ext cx="1440667" cy="400110"/>
            <a:chOff x="5855985" y="892654"/>
            <a:chExt cx="1241325" cy="400110"/>
          </a:xfrm>
        </p:grpSpPr>
        <p:sp>
          <p:nvSpPr>
            <p:cNvPr id="49" name="ZoneTexte 48"/>
            <p:cNvSpPr txBox="1"/>
            <p:nvPr/>
          </p:nvSpPr>
          <p:spPr>
            <a:xfrm>
              <a:off x="5855985" y="892654"/>
              <a:ext cx="1241325"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b="1" dirty="0">
                  <a:latin typeface="Lato  "/>
                </a:rPr>
                <a:t>Analyser</a:t>
              </a:r>
            </a:p>
          </p:txBody>
        </p:sp>
        <p:cxnSp>
          <p:nvCxnSpPr>
            <p:cNvPr id="58" name="Connecteur droit 57"/>
            <p:cNvCxnSpPr/>
            <p:nvPr/>
          </p:nvCxnSpPr>
          <p:spPr>
            <a:xfrm>
              <a:off x="6047085" y="1292764"/>
              <a:ext cx="540001" cy="0"/>
            </a:xfrm>
            <a:prstGeom prst="line">
              <a:avLst/>
            </a:prstGeom>
            <a:ln w="28575">
              <a:solidFill>
                <a:srgbClr val="EE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Groupe 15"/>
          <p:cNvGrpSpPr/>
          <p:nvPr/>
        </p:nvGrpSpPr>
        <p:grpSpPr>
          <a:xfrm>
            <a:off x="7092695" y="668167"/>
            <a:ext cx="1561262" cy="400110"/>
            <a:chOff x="7892283" y="892654"/>
            <a:chExt cx="1345234" cy="400110"/>
          </a:xfrm>
        </p:grpSpPr>
        <p:sp>
          <p:nvSpPr>
            <p:cNvPr id="51" name="ZoneTexte 50"/>
            <p:cNvSpPr txBox="1"/>
            <p:nvPr/>
          </p:nvSpPr>
          <p:spPr>
            <a:xfrm>
              <a:off x="7892283" y="892654"/>
              <a:ext cx="1345234"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Améliorer</a:t>
              </a:r>
            </a:p>
          </p:txBody>
        </p:sp>
        <p:cxnSp>
          <p:nvCxnSpPr>
            <p:cNvPr id="60" name="Connecteur droit 59"/>
            <p:cNvCxnSpPr/>
            <p:nvPr/>
          </p:nvCxnSpPr>
          <p:spPr>
            <a:xfrm>
              <a:off x="8083704"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7" name="Groupe 56"/>
          <p:cNvGrpSpPr/>
          <p:nvPr/>
        </p:nvGrpSpPr>
        <p:grpSpPr>
          <a:xfrm>
            <a:off x="9108530" y="668167"/>
            <a:ext cx="1464786" cy="400110"/>
            <a:chOff x="9908118" y="892654"/>
            <a:chExt cx="1262107" cy="400110"/>
          </a:xfrm>
        </p:grpSpPr>
        <p:sp>
          <p:nvSpPr>
            <p:cNvPr id="53" name="ZoneTexte 52"/>
            <p:cNvSpPr txBox="1"/>
            <p:nvPr/>
          </p:nvSpPr>
          <p:spPr>
            <a:xfrm>
              <a:off x="9908118" y="892654"/>
              <a:ext cx="1262107"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2000" dirty="0">
                  <a:solidFill>
                    <a:schemeClr val="bg2">
                      <a:lumMod val="90000"/>
                    </a:schemeClr>
                  </a:solidFill>
                  <a:latin typeface="Lato  "/>
                </a:rPr>
                <a:t>Contrôler</a:t>
              </a:r>
            </a:p>
          </p:txBody>
        </p:sp>
        <p:cxnSp>
          <p:nvCxnSpPr>
            <p:cNvPr id="62" name="Connecteur droit 61"/>
            <p:cNvCxnSpPr/>
            <p:nvPr/>
          </p:nvCxnSpPr>
          <p:spPr>
            <a:xfrm>
              <a:off x="10089149" y="129276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9" name="Rectangle 58"/>
          <p:cNvSpPr/>
          <p:nvPr/>
        </p:nvSpPr>
        <p:spPr>
          <a:xfrm rot="10800000">
            <a:off x="144038" y="6315373"/>
            <a:ext cx="412293" cy="338554"/>
          </a:xfrm>
          <a:prstGeom prst="rect">
            <a:avLst/>
          </a:prstGeom>
        </p:spPr>
        <p:txBody>
          <a:bodyPr wrap="none">
            <a:spAutoFit/>
          </a:bodyPr>
          <a:lstStyle>
            <a:defPPr>
              <a:defRPr lang="en-US"/>
            </a:defPPr>
            <a:lvl1pPr marL="0" algn="l" defTabSz="914340" rtl="0" eaLnBrk="1" latinLnBrk="0" hangingPunct="1">
              <a:defRPr sz="1800" kern="1200">
                <a:solidFill>
                  <a:schemeClr val="tx1"/>
                </a:solidFill>
                <a:latin typeface="+mn-lt"/>
                <a:ea typeface="+mn-ea"/>
                <a:cs typeface="+mn-cs"/>
              </a:defRPr>
            </a:lvl1pPr>
            <a:lvl2pPr marL="457170"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1" algn="l" defTabSz="914340" rtl="0" eaLnBrk="1" latinLnBrk="0" hangingPunct="1">
              <a:defRPr sz="1800" kern="1200">
                <a:solidFill>
                  <a:schemeClr val="tx1"/>
                </a:solidFill>
                <a:latin typeface="+mn-lt"/>
                <a:ea typeface="+mn-ea"/>
                <a:cs typeface="+mn-cs"/>
              </a:defRPr>
            </a:lvl7pPr>
            <a:lvl8pPr marL="3200193"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a:lstStyle>
          <a:p>
            <a:pPr algn="ctr"/>
            <a:r>
              <a:rPr lang="en-AU" sz="1600" dirty="0">
                <a:solidFill>
                  <a:schemeClr val="bg1"/>
                </a:solidFill>
                <a:latin typeface="Lato"/>
              </a:rPr>
              <a:t>15</a:t>
            </a:r>
          </a:p>
        </p:txBody>
      </p:sp>
      <p:sp>
        <p:nvSpPr>
          <p:cNvPr id="2" name="Espace réservé du numéro de diapositive 1"/>
          <p:cNvSpPr>
            <a:spLocks noGrp="1"/>
          </p:cNvSpPr>
          <p:nvPr>
            <p:ph type="sldNum" sz="quarter" idx="12"/>
          </p:nvPr>
        </p:nvSpPr>
        <p:spPr>
          <a:xfrm>
            <a:off x="9334421" y="6288241"/>
            <a:ext cx="2743200" cy="365125"/>
          </a:xfrm>
        </p:spPr>
        <p:txBody>
          <a:bodyPr vert="horz" lIns="91440" tIns="45720" rIns="91440" bIns="45720" rtlCol="0" anchor="ctr"/>
          <a:lstStyle/>
          <a:p>
            <a:fld id="{6130CD27-AFE4-4E20-B740-5A2305B4E48B}" type="slidenum">
              <a:rPr lang="fr-FR" sz="1600">
                <a:solidFill>
                  <a:schemeClr val="bg1"/>
                </a:solidFill>
                <a:latin typeface="Lato"/>
              </a:rPr>
              <a:pPr/>
              <a:t>21</a:t>
            </a:fld>
            <a:endParaRPr lang="fr-FR" sz="1600" dirty="0">
              <a:solidFill>
                <a:schemeClr val="bg1"/>
              </a:solidFill>
              <a:latin typeface="Lato"/>
            </a:endParaRPr>
          </a:p>
        </p:txBody>
      </p:sp>
      <p:sp>
        <p:nvSpPr>
          <p:cNvPr id="78" name="ZoneTexte 53">
            <a:extLst>
              <a:ext uri="{FF2B5EF4-FFF2-40B4-BE49-F238E27FC236}">
                <a16:creationId xmlns:a16="http://schemas.microsoft.com/office/drawing/2014/main" id="{6F4450BA-9AAA-4FEE-B3C6-7629ACE48039}"/>
              </a:ext>
            </a:extLst>
          </p:cNvPr>
          <p:cNvSpPr txBox="1"/>
          <p:nvPr/>
        </p:nvSpPr>
        <p:spPr>
          <a:xfrm>
            <a:off x="390860" y="74183"/>
            <a:ext cx="1821107"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Environnement </a:t>
            </a:r>
          </a:p>
          <a:p>
            <a:r>
              <a:rPr lang="it-IT" dirty="0"/>
              <a:t>du projet</a:t>
            </a:r>
            <a:endParaRPr lang="fr-FR" dirty="0"/>
          </a:p>
        </p:txBody>
      </p:sp>
      <p:sp>
        <p:nvSpPr>
          <p:cNvPr id="91" name="ZoneTexte 54">
            <a:extLst>
              <a:ext uri="{FF2B5EF4-FFF2-40B4-BE49-F238E27FC236}">
                <a16:creationId xmlns:a16="http://schemas.microsoft.com/office/drawing/2014/main" id="{B24A9C8C-AE54-436E-9627-3001171037C2}"/>
              </a:ext>
            </a:extLst>
          </p:cNvPr>
          <p:cNvSpPr txBox="1"/>
          <p:nvPr/>
        </p:nvSpPr>
        <p:spPr>
          <a:xfrm>
            <a:off x="6433678" y="74184"/>
            <a:ext cx="1784587" cy="646331"/>
          </a:xfrm>
          <a:prstGeom prst="rect">
            <a:avLst/>
          </a:prstGeom>
          <a:solidFill>
            <a:srgbClr val="020088"/>
          </a:solidFill>
        </p:spPr>
        <p:txBody>
          <a:bodyPr wrap="square" rtlCol="0">
            <a:spAutoFit/>
          </a:bodyPr>
          <a:lstStyle>
            <a:defPPr>
              <a:defRPr lang="fr-FR"/>
            </a:defPPr>
            <a:lvl1pPr algn="ctr">
              <a:defRPr>
                <a:solidFill>
                  <a:schemeClr val="bg1"/>
                </a:solidFill>
                <a:latin typeface="Lato  "/>
              </a:defRPr>
            </a:lvl1pPr>
          </a:lstStyle>
          <a:p>
            <a:r>
              <a:rPr lang="it-IT" dirty="0"/>
              <a:t>Mise en oeuvre du projet</a:t>
            </a:r>
            <a:endParaRPr lang="fr-FR" dirty="0"/>
          </a:p>
        </p:txBody>
      </p:sp>
      <p:sp>
        <p:nvSpPr>
          <p:cNvPr id="92" name="ZoneTexte 55">
            <a:extLst>
              <a:ext uri="{FF2B5EF4-FFF2-40B4-BE49-F238E27FC236}">
                <a16:creationId xmlns:a16="http://schemas.microsoft.com/office/drawing/2014/main" id="{37F626EB-7569-4651-A107-92056F5647D1}"/>
              </a:ext>
            </a:extLst>
          </p:cNvPr>
          <p:cNvSpPr txBox="1"/>
          <p:nvPr/>
        </p:nvSpPr>
        <p:spPr>
          <a:xfrm>
            <a:off x="9319488" y="74730"/>
            <a:ext cx="1752879" cy="646331"/>
          </a:xfrm>
          <a:prstGeom prst="rect">
            <a:avLst/>
          </a:prstGeom>
          <a:solidFill>
            <a:schemeClr val="bg2"/>
          </a:solidFill>
        </p:spPr>
        <p:txBody>
          <a:bodyPr wrap="square" rtlCol="0">
            <a:spAutoFit/>
          </a:bodyPr>
          <a:lstStyle/>
          <a:p>
            <a:pPr algn="ctr"/>
            <a:r>
              <a:rPr lang="it-IT" dirty="0">
                <a:latin typeface="Lato  "/>
              </a:rPr>
              <a:t>Conclusion et</a:t>
            </a:r>
          </a:p>
          <a:p>
            <a:pPr algn="ctr"/>
            <a:r>
              <a:rPr lang="it-IT" dirty="0">
                <a:latin typeface="Lato  "/>
              </a:rPr>
              <a:t> Perspectives</a:t>
            </a:r>
            <a:endParaRPr lang="fr-FR" dirty="0">
              <a:latin typeface="Lato  "/>
            </a:endParaRPr>
          </a:p>
        </p:txBody>
      </p:sp>
      <p:cxnSp>
        <p:nvCxnSpPr>
          <p:cNvPr id="94" name="Connecteur droit 57">
            <a:extLst>
              <a:ext uri="{FF2B5EF4-FFF2-40B4-BE49-F238E27FC236}">
                <a16:creationId xmlns:a16="http://schemas.microsoft.com/office/drawing/2014/main" id="{3ECE51A5-C702-40C3-A387-7D101E5CC9DC}"/>
              </a:ext>
            </a:extLst>
          </p:cNvPr>
          <p:cNvCxnSpPr>
            <a:cxnSpLocks/>
            <a:stCxn id="78" idx="3"/>
            <a:endCxn id="100" idx="1"/>
          </p:cNvCxnSpPr>
          <p:nvPr/>
        </p:nvCxnSpPr>
        <p:spPr>
          <a:xfrm>
            <a:off x="2211967" y="397349"/>
            <a:ext cx="1101223"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95" name="Connecteur droit 58">
            <a:extLst>
              <a:ext uri="{FF2B5EF4-FFF2-40B4-BE49-F238E27FC236}">
                <a16:creationId xmlns:a16="http://schemas.microsoft.com/office/drawing/2014/main" id="{4BB2F680-0AB5-4D3E-BD93-5FD34EA7EB6A}"/>
              </a:ext>
            </a:extLst>
          </p:cNvPr>
          <p:cNvCxnSpPr>
            <a:cxnSpLocks/>
            <a:stCxn id="91" idx="3"/>
            <a:endCxn id="92" idx="1"/>
          </p:cNvCxnSpPr>
          <p:nvPr/>
        </p:nvCxnSpPr>
        <p:spPr>
          <a:xfrm>
            <a:off x="8218265" y="397350"/>
            <a:ext cx="1101223" cy="546"/>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99" name="Espace réservé du numéro de diapositive 1">
            <a:extLst>
              <a:ext uri="{FF2B5EF4-FFF2-40B4-BE49-F238E27FC236}">
                <a16:creationId xmlns:a16="http://schemas.microsoft.com/office/drawing/2014/main" id="{A1997D78-9A12-444B-A0B2-F4FD381E35A9}"/>
              </a:ext>
            </a:extLst>
          </p:cNvPr>
          <p:cNvSpPr txBox="1">
            <a:spLocks/>
          </p:cNvSpPr>
          <p:nvPr/>
        </p:nvSpPr>
        <p:spPr>
          <a:xfrm>
            <a:off x="9389287" y="6359316"/>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solidFill>
                <a:latin typeface="Lato"/>
              </a:rPr>
              <a:t>13</a:t>
            </a:r>
          </a:p>
        </p:txBody>
      </p:sp>
      <p:sp>
        <p:nvSpPr>
          <p:cNvPr id="100" name="ZoneTexte 54">
            <a:extLst>
              <a:ext uri="{FF2B5EF4-FFF2-40B4-BE49-F238E27FC236}">
                <a16:creationId xmlns:a16="http://schemas.microsoft.com/office/drawing/2014/main" id="{1EB769E5-B687-4117-8216-81780C7D7D11}"/>
              </a:ext>
            </a:extLst>
          </p:cNvPr>
          <p:cNvSpPr txBox="1"/>
          <p:nvPr/>
        </p:nvSpPr>
        <p:spPr>
          <a:xfrm>
            <a:off x="3313190" y="74184"/>
            <a:ext cx="2024481" cy="646331"/>
          </a:xfrm>
          <a:prstGeom prst="rect">
            <a:avLst/>
          </a:prstGeom>
          <a:solidFill>
            <a:schemeClr val="bg2"/>
          </a:solidFill>
        </p:spPr>
        <p:txBody>
          <a:bodyPr wrap="square" rtlCol="0">
            <a:spAutoFit/>
          </a:bodyPr>
          <a:lstStyle>
            <a:defPPr>
              <a:defRPr lang="fr-FR"/>
            </a:defPPr>
            <a:lvl1pPr algn="ctr">
              <a:defRPr>
                <a:latin typeface="Lato  "/>
              </a:defRPr>
            </a:lvl1pPr>
          </a:lstStyle>
          <a:p>
            <a:r>
              <a:rPr lang="it-IT" dirty="0"/>
              <a:t>Contexte Général</a:t>
            </a:r>
          </a:p>
          <a:p>
            <a:r>
              <a:rPr lang="it-IT" dirty="0"/>
              <a:t> du projet</a:t>
            </a:r>
          </a:p>
        </p:txBody>
      </p:sp>
      <p:cxnSp>
        <p:nvCxnSpPr>
          <p:cNvPr id="101" name="Connecteur droit 57">
            <a:extLst>
              <a:ext uri="{FF2B5EF4-FFF2-40B4-BE49-F238E27FC236}">
                <a16:creationId xmlns:a16="http://schemas.microsoft.com/office/drawing/2014/main" id="{FD0AE152-642A-4463-8A8E-2BCD7B97F60B}"/>
              </a:ext>
            </a:extLst>
          </p:cNvPr>
          <p:cNvCxnSpPr>
            <a:cxnSpLocks/>
          </p:cNvCxnSpPr>
          <p:nvPr/>
        </p:nvCxnSpPr>
        <p:spPr>
          <a:xfrm>
            <a:off x="5337671" y="397350"/>
            <a:ext cx="1096007" cy="0"/>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84" name="Connecteur droit 56">
            <a:extLst>
              <a:ext uri="{FF2B5EF4-FFF2-40B4-BE49-F238E27FC236}">
                <a16:creationId xmlns:a16="http://schemas.microsoft.com/office/drawing/2014/main" id="{1805E98E-BE31-4087-8A21-8CCE1753C310}"/>
              </a:ext>
            </a:extLst>
          </p:cNvPr>
          <p:cNvCxnSpPr>
            <a:cxnSpLocks/>
          </p:cNvCxnSpPr>
          <p:nvPr/>
        </p:nvCxnSpPr>
        <p:spPr>
          <a:xfrm>
            <a:off x="11077903" y="410171"/>
            <a:ext cx="793875"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85" name="Group 3">
            <a:extLst>
              <a:ext uri="{FF2B5EF4-FFF2-40B4-BE49-F238E27FC236}">
                <a16:creationId xmlns:a16="http://schemas.microsoft.com/office/drawing/2014/main" id="{DD47ACEB-F849-4CC0-9B75-617296D46DCF}"/>
              </a:ext>
            </a:extLst>
          </p:cNvPr>
          <p:cNvGrpSpPr/>
          <p:nvPr/>
        </p:nvGrpSpPr>
        <p:grpSpPr>
          <a:xfrm rot="10800000">
            <a:off x="11632841" y="410171"/>
            <a:ext cx="504000" cy="6352766"/>
            <a:chOff x="-5771165" y="1295207"/>
            <a:chExt cx="504000" cy="6352766"/>
          </a:xfrm>
          <a:solidFill>
            <a:srgbClr val="020088"/>
          </a:solidFill>
        </p:grpSpPr>
        <p:cxnSp>
          <p:nvCxnSpPr>
            <p:cNvPr id="114" name="Straight Connector 9">
              <a:extLst>
                <a:ext uri="{FF2B5EF4-FFF2-40B4-BE49-F238E27FC236}">
                  <a16:creationId xmlns:a16="http://schemas.microsoft.com/office/drawing/2014/main" id="{6AB9B7C2-004D-4B31-89B8-ECF2C4E02CEF}"/>
                </a:ext>
              </a:extLst>
            </p:cNvPr>
            <p:cNvCxnSpPr>
              <a:cxnSpLocks/>
            </p:cNvCxnSpPr>
            <p:nvPr/>
          </p:nvCxnSpPr>
          <p:spPr>
            <a:xfrm rot="10800000" flipV="1">
              <a:off x="-5506102" y="1610316"/>
              <a:ext cx="0" cy="6037657"/>
            </a:xfrm>
            <a:prstGeom prst="line">
              <a:avLst/>
            </a:prstGeom>
            <a:grpFill/>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115" name="Teardrop 38">
              <a:extLst>
                <a:ext uri="{FF2B5EF4-FFF2-40B4-BE49-F238E27FC236}">
                  <a16:creationId xmlns:a16="http://schemas.microsoft.com/office/drawing/2014/main" id="{F0D56FDE-EE6B-4458-BE90-203A295005CD}"/>
                </a:ext>
              </a:extLst>
            </p:cNvPr>
            <p:cNvSpPr/>
            <p:nvPr/>
          </p:nvSpPr>
          <p:spPr>
            <a:xfrm rot="8100000">
              <a:off x="-5771165" y="1295207"/>
              <a:ext cx="504000" cy="504000"/>
            </a:xfrm>
            <a:prstGeom prst="teardrop">
              <a:avLst>
                <a:gd name="adj" fmla="val 9891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dirty="0"/>
            </a:p>
          </p:txBody>
        </p:sp>
      </p:grpSp>
      <p:sp>
        <p:nvSpPr>
          <p:cNvPr id="118" name="Espace réservé du numéro de diapositive 1">
            <a:extLst>
              <a:ext uri="{FF2B5EF4-FFF2-40B4-BE49-F238E27FC236}">
                <a16:creationId xmlns:a16="http://schemas.microsoft.com/office/drawing/2014/main" id="{49FCDE72-6127-468A-85A5-48E54FDD7697}"/>
              </a:ext>
            </a:extLst>
          </p:cNvPr>
          <p:cNvSpPr txBox="1">
            <a:spLocks/>
          </p:cNvSpPr>
          <p:nvPr/>
        </p:nvSpPr>
        <p:spPr>
          <a:xfrm>
            <a:off x="9344855" y="6302087"/>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solidFill>
                <a:latin typeface="Lato"/>
              </a:rPr>
              <a:t>15</a:t>
            </a:r>
          </a:p>
        </p:txBody>
      </p:sp>
      <p:sp>
        <p:nvSpPr>
          <p:cNvPr id="126" name="ZoneTexte 64">
            <a:extLst>
              <a:ext uri="{FF2B5EF4-FFF2-40B4-BE49-F238E27FC236}">
                <a16:creationId xmlns:a16="http://schemas.microsoft.com/office/drawing/2014/main" id="{0867F437-D2F7-4763-97A7-A5B4810A22C4}"/>
              </a:ext>
            </a:extLst>
          </p:cNvPr>
          <p:cNvSpPr txBox="1"/>
          <p:nvPr/>
        </p:nvSpPr>
        <p:spPr>
          <a:xfrm>
            <a:off x="144038" y="2010778"/>
            <a:ext cx="2538516"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b="1" dirty="0">
                <a:solidFill>
                  <a:srgbClr val="000000"/>
                </a:solidFill>
                <a:latin typeface="Lato  "/>
              </a:rPr>
              <a:t>2- Aspect des PSR</a:t>
            </a:r>
          </a:p>
        </p:txBody>
      </p:sp>
      <p:sp>
        <p:nvSpPr>
          <p:cNvPr id="127" name="ZoneTexte 65">
            <a:extLst>
              <a:ext uri="{FF2B5EF4-FFF2-40B4-BE49-F238E27FC236}">
                <a16:creationId xmlns:a16="http://schemas.microsoft.com/office/drawing/2014/main" id="{B4127AD3-A8F3-4609-8900-EB0EB93A08F2}"/>
              </a:ext>
            </a:extLst>
          </p:cNvPr>
          <p:cNvSpPr txBox="1"/>
          <p:nvPr/>
        </p:nvSpPr>
        <p:spPr>
          <a:xfrm>
            <a:off x="141961" y="1560117"/>
            <a:ext cx="3939959"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rgbClr val="808080">
                    <a:lumMod val="40000"/>
                    <a:lumOff val="60000"/>
                  </a:srgbClr>
                </a:solidFill>
                <a:latin typeface="Lato  "/>
              </a:rPr>
              <a:t>1- Diagramme Pareto</a:t>
            </a:r>
          </a:p>
        </p:txBody>
      </p:sp>
      <p:graphicFrame>
        <p:nvGraphicFramePr>
          <p:cNvPr id="5" name="Table 4">
            <a:extLst>
              <a:ext uri="{FF2B5EF4-FFF2-40B4-BE49-F238E27FC236}">
                <a16:creationId xmlns:a16="http://schemas.microsoft.com/office/drawing/2014/main" id="{31922C11-3D08-4368-AEC4-C073E23A4A21}"/>
              </a:ext>
            </a:extLst>
          </p:cNvPr>
          <p:cNvGraphicFramePr>
            <a:graphicFrameLocks noGrp="1"/>
          </p:cNvGraphicFramePr>
          <p:nvPr/>
        </p:nvGraphicFramePr>
        <p:xfrm>
          <a:off x="2933309" y="1190625"/>
          <a:ext cx="8139058" cy="5597801"/>
        </p:xfrm>
        <a:graphic>
          <a:graphicData uri="http://schemas.openxmlformats.org/drawingml/2006/table">
            <a:tbl>
              <a:tblPr/>
              <a:tblGrid>
                <a:gridCol w="1266425">
                  <a:extLst>
                    <a:ext uri="{9D8B030D-6E8A-4147-A177-3AD203B41FA5}">
                      <a16:colId xmlns:a16="http://schemas.microsoft.com/office/drawing/2014/main" val="3211992957"/>
                    </a:ext>
                  </a:extLst>
                </a:gridCol>
                <a:gridCol w="2269315">
                  <a:extLst>
                    <a:ext uri="{9D8B030D-6E8A-4147-A177-3AD203B41FA5}">
                      <a16:colId xmlns:a16="http://schemas.microsoft.com/office/drawing/2014/main" val="1326090888"/>
                    </a:ext>
                  </a:extLst>
                </a:gridCol>
                <a:gridCol w="1990172">
                  <a:extLst>
                    <a:ext uri="{9D8B030D-6E8A-4147-A177-3AD203B41FA5}">
                      <a16:colId xmlns:a16="http://schemas.microsoft.com/office/drawing/2014/main" val="4795455"/>
                    </a:ext>
                  </a:extLst>
                </a:gridCol>
                <a:gridCol w="2613146">
                  <a:extLst>
                    <a:ext uri="{9D8B030D-6E8A-4147-A177-3AD203B41FA5}">
                      <a16:colId xmlns:a16="http://schemas.microsoft.com/office/drawing/2014/main" val="1751255886"/>
                    </a:ext>
                  </a:extLst>
                </a:gridCol>
              </a:tblGrid>
              <a:tr h="610899">
                <a:tc gridSpan="3">
                  <a:txBody>
                    <a:bodyPr/>
                    <a:lstStyle/>
                    <a:p>
                      <a:pPr algn="ctr">
                        <a:lnSpc>
                          <a:spcPct val="150000"/>
                        </a:lnSpc>
                        <a:spcAft>
                          <a:spcPts val="80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Aspect extérieur du point</a:t>
                      </a:r>
                      <a:endParaRPr lang="fr-FR" sz="1100" dirty="0">
                        <a:effectLst/>
                        <a:latin typeface="Calibri" panose="020F0502020204030204" pitchFamily="34" charset="0"/>
                        <a:ea typeface="Calibri" panose="020F0502020204030204" pitchFamily="34" charset="0"/>
                        <a:cs typeface="Arial" panose="020B0604020202020204" pitchFamily="34" charset="0"/>
                      </a:endParaRPr>
                    </a:p>
                  </a:txBody>
                  <a:tcPr marL="36323" marR="3632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fr-FR"/>
                    </a:p>
                  </a:txBody>
                  <a:tcPr/>
                </a:tc>
                <a:tc hMerge="1">
                  <a:txBody>
                    <a:bodyPr/>
                    <a:lstStyle/>
                    <a:p>
                      <a:endParaRPr lang="fr-FR"/>
                    </a:p>
                  </a:txBody>
                  <a:tcPr/>
                </a:tc>
                <a:tc>
                  <a:txBody>
                    <a:bodyPr/>
                    <a:lstStyle/>
                    <a:p>
                      <a:pPr algn="ctr">
                        <a:lnSpc>
                          <a:spcPct val="107000"/>
                        </a:lnSpc>
                        <a:spcAft>
                          <a:spcPts val="800"/>
                        </a:spcAft>
                      </a:pPr>
                      <a:r>
                        <a:rPr lang="fr-FR" sz="1000" dirty="0">
                          <a:effectLst/>
                          <a:latin typeface="Times New Roman" panose="02020603050405020304" pitchFamily="18" charset="0"/>
                          <a:ea typeface="Calibri" panose="020F0502020204030204" pitchFamily="34" charset="0"/>
                          <a:cs typeface="Arial" panose="020B0604020202020204" pitchFamily="34" charset="0"/>
                        </a:rPr>
                        <a:t> </a:t>
                      </a:r>
                      <a:endParaRPr lang="fr-FR" sz="900" dirty="0">
                        <a:effectLst/>
                        <a:latin typeface="Calibri" panose="020F0502020204030204" pitchFamily="34" charset="0"/>
                        <a:ea typeface="Calibri" panose="020F0502020204030204" pitchFamily="34" charset="0"/>
                        <a:cs typeface="Arial" panose="020B0604020202020204" pitchFamily="34" charset="0"/>
                      </a:endParaRPr>
                    </a:p>
                    <a:p>
                      <a:pPr marL="34925" algn="ctr">
                        <a:lnSpc>
                          <a:spcPct val="150000"/>
                        </a:lnSpc>
                        <a:spcAft>
                          <a:spcPts val="80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Causes possibles</a:t>
                      </a:r>
                      <a:endParaRPr lang="fr-FR" sz="1100" dirty="0">
                        <a:effectLst/>
                        <a:latin typeface="Calibri" panose="020F0502020204030204" pitchFamily="34" charset="0"/>
                        <a:ea typeface="Calibri" panose="020F0502020204030204" pitchFamily="34" charset="0"/>
                        <a:cs typeface="Arial" panose="020B0604020202020204" pitchFamily="34" charset="0"/>
                      </a:endParaRPr>
                    </a:p>
                  </a:txBody>
                  <a:tcPr marL="36323" marR="36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4357451"/>
                  </a:ext>
                </a:extLst>
              </a:tr>
              <a:tr h="1587471">
                <a:tc>
                  <a:txBody>
                    <a:bodyPr/>
                    <a:lstStyle/>
                    <a:p>
                      <a:pPr marL="34925" algn="ctr">
                        <a:lnSpc>
                          <a:spcPct val="150000"/>
                        </a:lnSpc>
                        <a:spcAft>
                          <a:spcPts val="800"/>
                        </a:spcAft>
                      </a:pPr>
                      <a:r>
                        <a:rPr lang="fr-FR" sz="1000" dirty="0">
                          <a:effectLst/>
                          <a:latin typeface="Times New Roman" panose="02020603050405020304" pitchFamily="18" charset="0"/>
                          <a:ea typeface="Calibri" panose="020F0502020204030204" pitchFamily="34" charset="0"/>
                          <a:cs typeface="Arial" panose="020B0604020202020204" pitchFamily="34" charset="0"/>
                        </a:rPr>
                        <a:t> </a:t>
                      </a:r>
                      <a:endParaRPr lang="fr-FR" sz="900" dirty="0">
                        <a:effectLst/>
                        <a:latin typeface="Calibri" panose="020F0502020204030204" pitchFamily="34" charset="0"/>
                        <a:ea typeface="Calibri" panose="020F0502020204030204" pitchFamily="34" charset="0"/>
                        <a:cs typeface="Arial" panose="020B0604020202020204" pitchFamily="34" charset="0"/>
                      </a:endParaRPr>
                    </a:p>
                    <a:p>
                      <a:pPr marL="34925" algn="ctr">
                        <a:lnSpc>
                          <a:spcPct val="150000"/>
                        </a:lnSpc>
                        <a:spcAft>
                          <a:spcPts val="80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Point percé</a:t>
                      </a:r>
                      <a:endParaRPr lang="fr-FR" sz="1400" dirty="0">
                        <a:effectLst/>
                        <a:latin typeface="Calibri" panose="020F0502020204030204" pitchFamily="34" charset="0"/>
                        <a:ea typeface="Calibri" panose="020F0502020204030204" pitchFamily="34" charset="0"/>
                        <a:cs typeface="Arial" panose="020B0604020202020204" pitchFamily="34" charset="0"/>
                      </a:endParaRPr>
                    </a:p>
                    <a:p>
                      <a:pPr marL="34925" algn="ctr">
                        <a:lnSpc>
                          <a:spcPct val="150000"/>
                        </a:lnSpc>
                        <a:spcAft>
                          <a:spcPts val="800"/>
                        </a:spcAft>
                      </a:pPr>
                      <a:r>
                        <a:rPr lang="fr-FR" sz="1000" dirty="0">
                          <a:effectLst/>
                          <a:latin typeface="Times New Roman" panose="02020603050405020304" pitchFamily="18" charset="0"/>
                          <a:ea typeface="Calibri" panose="020F0502020204030204" pitchFamily="34" charset="0"/>
                          <a:cs typeface="Arial" panose="020B0604020202020204" pitchFamily="34" charset="0"/>
                        </a:rPr>
                        <a:t> </a:t>
                      </a:r>
                      <a:endParaRPr lang="fr-FR" sz="900" dirty="0">
                        <a:effectLst/>
                        <a:latin typeface="Calibri" panose="020F0502020204030204" pitchFamily="34" charset="0"/>
                        <a:ea typeface="Calibri" panose="020F0502020204030204" pitchFamily="34" charset="0"/>
                        <a:cs typeface="Arial" panose="020B0604020202020204" pitchFamily="34" charset="0"/>
                      </a:endParaRPr>
                    </a:p>
                  </a:txBody>
                  <a:tcPr marL="36323" marR="36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fr-FR" sz="1000" dirty="0">
                          <a:effectLst/>
                          <a:latin typeface="Times New Roman" panose="02020603050405020304" pitchFamily="18" charset="0"/>
                          <a:ea typeface="Calibri" panose="020F0502020204030204" pitchFamily="34" charset="0"/>
                          <a:cs typeface="Arial" panose="020B0604020202020204" pitchFamily="34" charset="0"/>
                        </a:rPr>
                        <a:t> </a:t>
                      </a:r>
                      <a:endParaRPr lang="fr-FR" sz="900" dirty="0">
                        <a:effectLst/>
                        <a:latin typeface="Calibri" panose="020F0502020204030204" pitchFamily="34" charset="0"/>
                        <a:ea typeface="Calibri" panose="020F0502020204030204" pitchFamily="34" charset="0"/>
                        <a:cs typeface="Arial" panose="020B0604020202020204" pitchFamily="34" charset="0"/>
                      </a:endParaRPr>
                    </a:p>
                  </a:txBody>
                  <a:tcPr marL="36323" marR="36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FR" sz="1000" dirty="0">
                          <a:effectLst/>
                          <a:latin typeface="Times New Roman" panose="02020603050405020304" pitchFamily="18" charset="0"/>
                          <a:ea typeface="Calibri" panose="020F0502020204030204" pitchFamily="34" charset="0"/>
                          <a:cs typeface="Arial" panose="020B0604020202020204" pitchFamily="34" charset="0"/>
                        </a:rPr>
                        <a:t> </a:t>
                      </a:r>
                      <a:endParaRPr lang="fr-FR" sz="900" dirty="0">
                        <a:effectLst/>
                        <a:latin typeface="Calibri" panose="020F0502020204030204" pitchFamily="34" charset="0"/>
                        <a:ea typeface="Calibri" panose="020F0502020204030204" pitchFamily="34" charset="0"/>
                        <a:cs typeface="Arial" panose="020B0604020202020204" pitchFamily="34" charset="0"/>
                      </a:endParaRPr>
                    </a:p>
                    <a:p>
                      <a:pPr marL="34925" algn="ctr">
                        <a:lnSpc>
                          <a:spcPct val="150000"/>
                        </a:lnSpc>
                        <a:spcAft>
                          <a:spcPts val="800"/>
                        </a:spcAft>
                      </a:pPr>
                      <a:r>
                        <a:rPr lang="fr-FR" sz="1400" b="1" dirty="0">
                          <a:effectLst/>
                          <a:latin typeface="Times New Roman" panose="02020603050405020304" pitchFamily="18" charset="0"/>
                          <a:ea typeface="Calibri" panose="020F0502020204030204" pitchFamily="34" charset="0"/>
                          <a:cs typeface="Arial" panose="020B0604020202020204" pitchFamily="34" charset="0"/>
                        </a:rPr>
                        <a:t>Perforation du point par rejet de matière</a:t>
                      </a:r>
                      <a:endParaRPr lang="fr-FR" sz="1200" dirty="0">
                        <a:effectLst/>
                        <a:latin typeface="Calibri" panose="020F0502020204030204" pitchFamily="34" charset="0"/>
                        <a:ea typeface="Calibri" panose="020F0502020204030204" pitchFamily="34" charset="0"/>
                        <a:cs typeface="Arial" panose="020B0604020202020204" pitchFamily="34" charset="0"/>
                      </a:endParaRPr>
                    </a:p>
                  </a:txBody>
                  <a:tcPr marL="36323" marR="36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 </a:t>
                      </a:r>
                      <a:endParaRPr lang="fr-FR" sz="1400" dirty="0">
                        <a:effectLst/>
                        <a:latin typeface="Calibri" panose="020F0502020204030204" pitchFamily="34" charset="0"/>
                        <a:ea typeface="Calibri" panose="020F0502020204030204" pitchFamily="34" charset="0"/>
                        <a:cs typeface="Arial" panose="020B0604020202020204" pitchFamily="34" charset="0"/>
                      </a:endParaRPr>
                    </a:p>
                    <a:p>
                      <a:pPr marL="34925">
                        <a:lnSpc>
                          <a:spcPct val="107000"/>
                        </a:lnSpc>
                        <a:spcAft>
                          <a:spcPts val="800"/>
                        </a:spcAft>
                      </a:pPr>
                      <a:r>
                        <a:rPr lang="fr-FR" sz="1400" b="1" dirty="0">
                          <a:effectLst/>
                          <a:latin typeface="Times New Roman" panose="02020603050405020304" pitchFamily="18" charset="0"/>
                          <a:ea typeface="Calibri" panose="020F0502020204030204" pitchFamily="34" charset="0"/>
                          <a:cs typeface="Arial" panose="020B0604020202020204" pitchFamily="34" charset="0"/>
                        </a:rPr>
                        <a:t>- effort trop faible des électrodes </a:t>
                      </a:r>
                      <a:endParaRPr lang="fr-FR" sz="1400" dirty="0">
                        <a:effectLst/>
                        <a:latin typeface="Calibri" panose="020F0502020204030204" pitchFamily="34" charset="0"/>
                        <a:ea typeface="Calibri" panose="020F0502020204030204" pitchFamily="34" charset="0"/>
                        <a:cs typeface="Arial" panose="020B0604020202020204" pitchFamily="34" charset="0"/>
                      </a:endParaRPr>
                    </a:p>
                    <a:p>
                      <a:pPr marL="34925">
                        <a:lnSpc>
                          <a:spcPct val="107000"/>
                        </a:lnSpc>
                        <a:spcAft>
                          <a:spcPts val="800"/>
                        </a:spcAft>
                      </a:pPr>
                      <a:r>
                        <a:rPr lang="fr-FR" sz="1400" b="1" dirty="0">
                          <a:effectLst/>
                          <a:latin typeface="Times New Roman" panose="02020603050405020304" pitchFamily="18" charset="0"/>
                          <a:ea typeface="Calibri" panose="020F0502020204030204" pitchFamily="34" charset="0"/>
                          <a:cs typeface="Arial" panose="020B0604020202020204" pitchFamily="34" charset="0"/>
                        </a:rPr>
                        <a:t>- </a:t>
                      </a:r>
                      <a:r>
                        <a:rPr lang="fr-FR" sz="1400" b="1" dirty="0">
                          <a:solidFill>
                            <a:srgbClr val="FF0000"/>
                          </a:solidFill>
                          <a:effectLst/>
                          <a:latin typeface="Times New Roman" panose="02020603050405020304" pitchFamily="18" charset="0"/>
                          <a:ea typeface="Calibri" panose="020F0502020204030204" pitchFamily="34" charset="0"/>
                          <a:cs typeface="Arial" panose="020B0604020202020204" pitchFamily="34" charset="0"/>
                        </a:rPr>
                        <a:t>intensité trop forte </a:t>
                      </a:r>
                      <a:endParaRPr lang="fr-FR" sz="1400"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p>
                      <a:pPr marL="34925" algn="just">
                        <a:lnSpc>
                          <a:spcPct val="107000"/>
                        </a:lnSpc>
                        <a:spcAft>
                          <a:spcPts val="800"/>
                        </a:spcAft>
                      </a:pPr>
                      <a:r>
                        <a:rPr lang="fr-FR" sz="1400" b="1" dirty="0">
                          <a:effectLst/>
                          <a:latin typeface="Times New Roman" panose="02020603050405020304" pitchFamily="18" charset="0"/>
                          <a:ea typeface="Calibri" panose="020F0502020204030204" pitchFamily="34" charset="0"/>
                          <a:cs typeface="Arial" panose="020B0604020202020204" pitchFamily="34" charset="0"/>
                        </a:rPr>
                        <a:t>- électrodes mal ajustées</a:t>
                      </a:r>
                      <a:endParaRPr lang="fr-FR" sz="14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fr-FR" sz="1400" dirty="0">
                          <a:effectLst/>
                          <a:latin typeface="Times New Roman" panose="02020603050405020304" pitchFamily="18" charset="0"/>
                          <a:ea typeface="Calibri" panose="020F0502020204030204" pitchFamily="34" charset="0"/>
                          <a:cs typeface="Arial" panose="020B0604020202020204" pitchFamily="34" charset="0"/>
                        </a:rPr>
                        <a:t> </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36323" marR="363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2252244"/>
                  </a:ext>
                </a:extLst>
              </a:tr>
              <a:tr h="1823315">
                <a:tc>
                  <a:txBody>
                    <a:bodyPr/>
                    <a:lstStyle/>
                    <a:p>
                      <a:pPr marL="34925" algn="ctr">
                        <a:lnSpc>
                          <a:spcPct val="107000"/>
                        </a:lnSpc>
                        <a:spcAft>
                          <a:spcPts val="800"/>
                        </a:spcAft>
                      </a:pPr>
                      <a:r>
                        <a:rPr lang="fr-FR" sz="1000" u="none" strike="noStrike" dirty="0">
                          <a:effectLst/>
                          <a:latin typeface="Times New Roman" panose="02020603050405020304" pitchFamily="18" charset="0"/>
                          <a:ea typeface="Calibri" panose="020F0502020204030204" pitchFamily="34" charset="0"/>
                          <a:cs typeface="Arial" panose="020B0604020202020204" pitchFamily="34" charset="0"/>
                        </a:rPr>
                        <a:t> </a:t>
                      </a:r>
                      <a:endParaRPr lang="fr-FR" sz="900" dirty="0">
                        <a:effectLst/>
                        <a:latin typeface="Calibri" panose="020F0502020204030204" pitchFamily="34" charset="0"/>
                        <a:ea typeface="Calibri" panose="020F0502020204030204" pitchFamily="34" charset="0"/>
                        <a:cs typeface="Arial" panose="020B0604020202020204" pitchFamily="34" charset="0"/>
                      </a:endParaRPr>
                    </a:p>
                    <a:p>
                      <a:pPr marL="34925" algn="ctr">
                        <a:lnSpc>
                          <a:spcPct val="107000"/>
                        </a:lnSpc>
                        <a:spcAft>
                          <a:spcPts val="800"/>
                        </a:spcAft>
                      </a:pPr>
                      <a:r>
                        <a:rPr lang="fr-FR" sz="1600" b="1" dirty="0">
                          <a:effectLst/>
                          <a:latin typeface="Times New Roman" panose="02020603050405020304" pitchFamily="18" charset="0"/>
                          <a:ea typeface="Calibri" panose="020F0502020204030204" pitchFamily="34" charset="0"/>
                          <a:cs typeface="Arial" panose="020B0604020202020204" pitchFamily="34" charset="0"/>
                        </a:rPr>
                        <a:t>Point cuivré</a:t>
                      </a:r>
                      <a:endParaRPr lang="fr-FR" sz="1400" dirty="0">
                        <a:effectLst/>
                        <a:latin typeface="Calibri" panose="020F0502020204030204" pitchFamily="34" charset="0"/>
                        <a:ea typeface="Calibri" panose="020F0502020204030204" pitchFamily="34" charset="0"/>
                        <a:cs typeface="Arial" panose="020B0604020202020204" pitchFamily="34" charset="0"/>
                      </a:endParaRPr>
                    </a:p>
                    <a:p>
                      <a:pPr marL="34925" algn="ctr">
                        <a:lnSpc>
                          <a:spcPct val="150000"/>
                        </a:lnSpc>
                        <a:spcAft>
                          <a:spcPts val="800"/>
                        </a:spcAft>
                      </a:pPr>
                      <a:r>
                        <a:rPr lang="fr-FR" sz="1000" dirty="0">
                          <a:effectLst/>
                          <a:latin typeface="Times New Roman" panose="02020603050405020304" pitchFamily="18" charset="0"/>
                          <a:ea typeface="Calibri" panose="020F0502020204030204" pitchFamily="34" charset="0"/>
                          <a:cs typeface="Arial" panose="020B0604020202020204" pitchFamily="34" charset="0"/>
                        </a:rPr>
                        <a:t> </a:t>
                      </a:r>
                      <a:endParaRPr lang="fr-FR" sz="900" dirty="0">
                        <a:effectLst/>
                        <a:latin typeface="Calibri" panose="020F0502020204030204" pitchFamily="34" charset="0"/>
                        <a:ea typeface="Calibri" panose="020F0502020204030204" pitchFamily="34" charset="0"/>
                        <a:cs typeface="Arial" panose="020B0604020202020204" pitchFamily="34" charset="0"/>
                      </a:endParaRPr>
                    </a:p>
                  </a:txBody>
                  <a:tcPr marL="36323" marR="36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925" algn="ctr">
                        <a:lnSpc>
                          <a:spcPct val="150000"/>
                        </a:lnSpc>
                        <a:spcAft>
                          <a:spcPts val="800"/>
                        </a:spcAft>
                      </a:pPr>
                      <a:r>
                        <a:rPr lang="fr-FR" sz="900">
                          <a:effectLst/>
                          <a:latin typeface="Calibri" panose="020F0502020204030204" pitchFamily="34" charset="0"/>
                          <a:ea typeface="Calibri" panose="020F0502020204030204" pitchFamily="34" charset="0"/>
                          <a:cs typeface="Arial" panose="020B0604020202020204" pitchFamily="34" charset="0"/>
                        </a:rPr>
                        <a:t> </a:t>
                      </a:r>
                    </a:p>
                  </a:txBody>
                  <a:tcPr marL="36323" marR="36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925" algn="ctr">
                        <a:lnSpc>
                          <a:spcPct val="150000"/>
                        </a:lnSpc>
                        <a:spcAft>
                          <a:spcPts val="800"/>
                        </a:spcAft>
                      </a:pPr>
                      <a:r>
                        <a:rPr lang="fr-FR" sz="1400" b="1" dirty="0">
                          <a:effectLst/>
                          <a:latin typeface="Times New Roman" panose="02020603050405020304" pitchFamily="18" charset="0"/>
                          <a:ea typeface="Calibri" panose="020F0502020204030204" pitchFamily="34" charset="0"/>
                          <a:cs typeface="Arial" panose="020B0604020202020204" pitchFamily="34" charset="0"/>
                        </a:rPr>
                        <a:t>Fissures visibles en surface</a:t>
                      </a:r>
                      <a:endParaRPr lang="fr-FR" sz="1200" dirty="0">
                        <a:effectLst/>
                        <a:latin typeface="Calibri" panose="020F0502020204030204" pitchFamily="34" charset="0"/>
                        <a:ea typeface="Calibri" panose="020F0502020204030204" pitchFamily="34" charset="0"/>
                        <a:cs typeface="Arial" panose="020B0604020202020204" pitchFamily="34" charset="0"/>
                      </a:endParaRPr>
                    </a:p>
                  </a:txBody>
                  <a:tcPr marL="36323" marR="36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925">
                        <a:lnSpc>
                          <a:spcPct val="107000"/>
                        </a:lnSpc>
                        <a:spcAft>
                          <a:spcPts val="800"/>
                        </a:spcAft>
                      </a:pPr>
                      <a:r>
                        <a:rPr lang="fr-FR" sz="1400" b="1" dirty="0">
                          <a:effectLst/>
                          <a:latin typeface="Times New Roman" panose="02020603050405020304" pitchFamily="18" charset="0"/>
                          <a:ea typeface="Calibri" panose="020F0502020204030204" pitchFamily="34" charset="0"/>
                          <a:cs typeface="Arial" panose="020B0604020202020204" pitchFamily="34" charset="0"/>
                        </a:rPr>
                        <a:t>- effort trop faible des électrodes </a:t>
                      </a:r>
                      <a:endParaRPr lang="fr-FR" sz="1400" dirty="0">
                        <a:effectLst/>
                        <a:latin typeface="Calibri" panose="020F0502020204030204" pitchFamily="34" charset="0"/>
                        <a:ea typeface="Calibri" panose="020F0502020204030204" pitchFamily="34" charset="0"/>
                        <a:cs typeface="Arial" panose="020B0604020202020204" pitchFamily="34" charset="0"/>
                      </a:endParaRPr>
                    </a:p>
                    <a:p>
                      <a:pPr marL="34925">
                        <a:lnSpc>
                          <a:spcPct val="107000"/>
                        </a:lnSpc>
                        <a:spcAft>
                          <a:spcPts val="800"/>
                        </a:spcAft>
                      </a:pPr>
                      <a:r>
                        <a:rPr lang="fr-FR" sz="1400" b="1" dirty="0">
                          <a:effectLst/>
                          <a:latin typeface="Times New Roman" panose="02020603050405020304" pitchFamily="18" charset="0"/>
                          <a:ea typeface="Calibri" panose="020F0502020204030204" pitchFamily="34" charset="0"/>
                          <a:cs typeface="Arial" panose="020B0604020202020204" pitchFamily="34" charset="0"/>
                        </a:rPr>
                        <a:t>- </a:t>
                      </a:r>
                      <a:r>
                        <a:rPr lang="fr-FR" sz="1400" b="1" dirty="0">
                          <a:solidFill>
                            <a:srgbClr val="FF0000"/>
                          </a:solidFill>
                          <a:effectLst/>
                          <a:latin typeface="Times New Roman" panose="02020603050405020304" pitchFamily="18" charset="0"/>
                          <a:ea typeface="Calibri" panose="020F0502020204030204" pitchFamily="34" charset="0"/>
                          <a:cs typeface="Arial" panose="020B0604020202020204" pitchFamily="34" charset="0"/>
                        </a:rPr>
                        <a:t>intensité trop forte </a:t>
                      </a:r>
                      <a:endParaRPr lang="fr-FR" sz="1400"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p>
                      <a:pPr marL="34925" indent="0">
                        <a:lnSpc>
                          <a:spcPct val="107000"/>
                        </a:lnSpc>
                        <a:spcAft>
                          <a:spcPts val="800"/>
                        </a:spcAft>
                        <a:buFontTx/>
                        <a:buNone/>
                      </a:pPr>
                      <a:r>
                        <a:rPr lang="fr-FR" sz="1400" b="1" dirty="0">
                          <a:solidFill>
                            <a:srgbClr val="FF0000"/>
                          </a:solidFill>
                          <a:effectLst/>
                          <a:latin typeface="Times New Roman" panose="02020603050405020304" pitchFamily="18" charset="0"/>
                          <a:ea typeface="Calibri" panose="020F0502020204030204" pitchFamily="34" charset="0"/>
                          <a:cs typeface="Arial" panose="020B0604020202020204" pitchFamily="34" charset="0"/>
                        </a:rPr>
                        <a:t>- mauvaise position de la pince</a:t>
                      </a:r>
                    </a:p>
                    <a:p>
                      <a:pPr marL="34925" indent="0">
                        <a:lnSpc>
                          <a:spcPct val="107000"/>
                        </a:lnSpc>
                        <a:spcAft>
                          <a:spcPts val="800"/>
                        </a:spcAft>
                        <a:buFontTx/>
                        <a:buNone/>
                      </a:pPr>
                      <a:r>
                        <a:rPr lang="fr-FR" sz="1400" b="1" kern="1200" dirty="0">
                          <a:solidFill>
                            <a:schemeClr val="tx1"/>
                          </a:solidFill>
                          <a:effectLst/>
                          <a:latin typeface="Times New Roman" panose="02020603050405020304" pitchFamily="18" charset="0"/>
                          <a:ea typeface="Calibri" panose="020F0502020204030204" pitchFamily="34" charset="0"/>
                          <a:cs typeface="Arial" panose="020B0604020202020204" pitchFamily="34" charset="0"/>
                        </a:rPr>
                        <a:t>- </a:t>
                      </a:r>
                      <a:r>
                        <a:rPr lang="fr-FR" sz="1400" b="1" dirty="0">
                          <a:effectLst/>
                          <a:latin typeface="Times New Roman" panose="02020603050405020304" pitchFamily="18" charset="0"/>
                          <a:ea typeface="Calibri" panose="020F0502020204030204" pitchFamily="34" charset="0"/>
                          <a:cs typeface="Arial" panose="020B0604020202020204" pitchFamily="34" charset="0"/>
                        </a:rPr>
                        <a:t>électrodes mal affûtées</a:t>
                      </a:r>
                      <a:endParaRPr lang="fr-FR" sz="1400" dirty="0">
                        <a:effectLst/>
                        <a:latin typeface="Calibri" panose="020F0502020204030204" pitchFamily="34" charset="0"/>
                        <a:ea typeface="Calibri" panose="020F0502020204030204" pitchFamily="34" charset="0"/>
                        <a:cs typeface="Arial" panose="020B0604020202020204" pitchFamily="34" charset="0"/>
                      </a:endParaRPr>
                    </a:p>
                  </a:txBody>
                  <a:tcPr marL="36323" marR="363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18783434"/>
                  </a:ext>
                </a:extLst>
              </a:tr>
              <a:tr h="1576116">
                <a:tc>
                  <a:txBody>
                    <a:bodyPr/>
                    <a:lstStyle/>
                    <a:p>
                      <a:pPr marL="34925" algn="ctr">
                        <a:lnSpc>
                          <a:spcPct val="107000"/>
                        </a:lnSpc>
                        <a:spcAft>
                          <a:spcPts val="800"/>
                        </a:spcAft>
                      </a:pPr>
                      <a:r>
                        <a:rPr lang="fr-FR" sz="1400" b="1" dirty="0">
                          <a:effectLst/>
                          <a:latin typeface="Times New Roman" panose="02020603050405020304" pitchFamily="18" charset="0"/>
                          <a:ea typeface="Calibri" panose="020F0502020204030204" pitchFamily="34" charset="0"/>
                          <a:cs typeface="Arial" panose="020B0604020202020204" pitchFamily="34" charset="0"/>
                        </a:rPr>
                        <a:t>Point avec éclat</a:t>
                      </a:r>
                      <a:endParaRPr lang="fr-FR" sz="1200" dirty="0">
                        <a:effectLst/>
                        <a:latin typeface="Calibri" panose="020F0502020204030204" pitchFamily="34" charset="0"/>
                        <a:ea typeface="Calibri" panose="020F0502020204030204" pitchFamily="34" charset="0"/>
                        <a:cs typeface="Arial" panose="020B0604020202020204" pitchFamily="34" charset="0"/>
                      </a:endParaRPr>
                    </a:p>
                  </a:txBody>
                  <a:tcPr marL="36323" marR="36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925" algn="just">
                        <a:lnSpc>
                          <a:spcPct val="150000"/>
                        </a:lnSpc>
                        <a:spcAft>
                          <a:spcPts val="800"/>
                        </a:spcAft>
                      </a:pPr>
                      <a:r>
                        <a:rPr lang="fr-FR" sz="1000" dirty="0">
                          <a:effectLst/>
                          <a:latin typeface="Times New Roman" panose="02020603050405020304" pitchFamily="18" charset="0"/>
                          <a:ea typeface="Calibri" panose="020F0502020204030204" pitchFamily="34" charset="0"/>
                          <a:cs typeface="Arial" panose="020B0604020202020204" pitchFamily="34" charset="0"/>
                        </a:rPr>
                        <a:t> </a:t>
                      </a:r>
                      <a:endParaRPr lang="fr-FR" sz="900" dirty="0">
                        <a:effectLst/>
                        <a:latin typeface="Calibri" panose="020F0502020204030204" pitchFamily="34" charset="0"/>
                        <a:ea typeface="Calibri" panose="020F0502020204030204" pitchFamily="34" charset="0"/>
                        <a:cs typeface="Arial" panose="020B0604020202020204" pitchFamily="34" charset="0"/>
                      </a:endParaRPr>
                    </a:p>
                  </a:txBody>
                  <a:tcPr marL="36323" marR="363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925" algn="ctr">
                        <a:lnSpc>
                          <a:spcPct val="150000"/>
                        </a:lnSpc>
                        <a:spcAft>
                          <a:spcPts val="800"/>
                        </a:spcAft>
                      </a:pPr>
                      <a:r>
                        <a:rPr lang="fr-FR" sz="1400" b="1" dirty="0">
                          <a:effectLst/>
                          <a:latin typeface="Times New Roman" panose="02020603050405020304" pitchFamily="18" charset="0"/>
                          <a:ea typeface="Calibri" panose="020F0502020204030204" pitchFamily="34" charset="0"/>
                          <a:cs typeface="Arial" panose="020B0604020202020204" pitchFamily="34" charset="0"/>
                        </a:rPr>
                        <a:t>Rejet de matière en périphérie du point, à l’interface de tôles</a:t>
                      </a:r>
                      <a:endParaRPr lang="fr-FR" sz="1200" dirty="0">
                        <a:effectLst/>
                        <a:latin typeface="Calibri" panose="020F0502020204030204" pitchFamily="34" charset="0"/>
                        <a:ea typeface="Calibri" panose="020F0502020204030204" pitchFamily="34" charset="0"/>
                        <a:cs typeface="Arial" panose="020B0604020202020204" pitchFamily="34" charset="0"/>
                      </a:endParaRPr>
                    </a:p>
                  </a:txBody>
                  <a:tcPr marL="36323" marR="36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925">
                        <a:lnSpc>
                          <a:spcPct val="107000"/>
                        </a:lnSpc>
                        <a:spcAft>
                          <a:spcPts val="800"/>
                        </a:spcAft>
                      </a:pPr>
                      <a:r>
                        <a:rPr lang="fr-FR" sz="1400" b="1" dirty="0">
                          <a:effectLst/>
                          <a:latin typeface="Times New Roman" panose="02020603050405020304" pitchFamily="18" charset="0"/>
                          <a:ea typeface="Calibri" panose="020F0502020204030204" pitchFamily="34" charset="0"/>
                          <a:cs typeface="Arial" panose="020B0604020202020204" pitchFamily="34" charset="0"/>
                        </a:rPr>
                        <a:t>- effort trop faible des électrodes</a:t>
                      </a:r>
                      <a:endParaRPr lang="fr-FR" sz="1400" dirty="0">
                        <a:effectLst/>
                        <a:latin typeface="Calibri" panose="020F0502020204030204" pitchFamily="34" charset="0"/>
                        <a:ea typeface="Calibri" panose="020F0502020204030204" pitchFamily="34" charset="0"/>
                        <a:cs typeface="Arial" panose="020B0604020202020204" pitchFamily="34" charset="0"/>
                      </a:endParaRPr>
                    </a:p>
                    <a:p>
                      <a:pPr marL="34925">
                        <a:lnSpc>
                          <a:spcPct val="107000"/>
                        </a:lnSpc>
                        <a:spcAft>
                          <a:spcPts val="800"/>
                        </a:spcAft>
                      </a:pPr>
                      <a:r>
                        <a:rPr lang="fr-FR" sz="1400" b="1" dirty="0">
                          <a:effectLst/>
                          <a:latin typeface="Times New Roman" panose="02020603050405020304" pitchFamily="18" charset="0"/>
                          <a:ea typeface="Calibri" panose="020F0502020204030204" pitchFamily="34" charset="0"/>
                          <a:cs typeface="Arial" panose="020B0604020202020204" pitchFamily="34" charset="0"/>
                        </a:rPr>
                        <a:t>- intensité trop forte </a:t>
                      </a:r>
                      <a:endParaRPr lang="fr-FR" sz="1400" dirty="0">
                        <a:effectLst/>
                        <a:latin typeface="Calibri" panose="020F0502020204030204" pitchFamily="34" charset="0"/>
                        <a:ea typeface="Calibri" panose="020F0502020204030204" pitchFamily="34" charset="0"/>
                        <a:cs typeface="Arial" panose="020B0604020202020204" pitchFamily="34" charset="0"/>
                      </a:endParaRPr>
                    </a:p>
                    <a:p>
                      <a:pPr marL="34925">
                        <a:lnSpc>
                          <a:spcPct val="107000"/>
                        </a:lnSpc>
                        <a:spcAft>
                          <a:spcPts val="800"/>
                        </a:spcAft>
                      </a:pPr>
                      <a:r>
                        <a:rPr lang="fr-FR" sz="1400" b="1" dirty="0">
                          <a:effectLst/>
                          <a:latin typeface="Times New Roman" panose="02020603050405020304" pitchFamily="18" charset="0"/>
                          <a:ea typeface="Calibri" panose="020F0502020204030204" pitchFamily="34" charset="0"/>
                          <a:cs typeface="Arial" panose="020B0604020202020204" pitchFamily="34" charset="0"/>
                        </a:rPr>
                        <a:t>- </a:t>
                      </a:r>
                      <a:r>
                        <a:rPr lang="fr-FR" sz="1400" b="1" dirty="0">
                          <a:solidFill>
                            <a:srgbClr val="FF0000"/>
                          </a:solidFill>
                          <a:effectLst/>
                          <a:latin typeface="Times New Roman" panose="02020603050405020304" pitchFamily="18" charset="0"/>
                          <a:ea typeface="Calibri" panose="020F0502020204030204" pitchFamily="34" charset="0"/>
                          <a:cs typeface="Arial" panose="020B0604020202020204" pitchFamily="34" charset="0"/>
                        </a:rPr>
                        <a:t>mauvaise position de la pince</a:t>
                      </a:r>
                      <a:endParaRPr lang="fr-FR" sz="1400"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36323" marR="36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5343793"/>
                  </a:ext>
                </a:extLst>
              </a:tr>
            </a:tbl>
          </a:graphicData>
        </a:graphic>
      </p:graphicFrame>
      <p:pic>
        <p:nvPicPr>
          <p:cNvPr id="10246" name="Picture 110434">
            <a:extLst>
              <a:ext uri="{FF2B5EF4-FFF2-40B4-BE49-F238E27FC236}">
                <a16:creationId xmlns:a16="http://schemas.microsoft.com/office/drawing/2014/main" id="{5BAEBDCA-43B1-4DEF-8AD3-C10FA45B1E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6498" y="1861006"/>
            <a:ext cx="1941444" cy="1400643"/>
          </a:xfrm>
          <a:prstGeom prst="rect">
            <a:avLst/>
          </a:prstGeom>
          <a:noFill/>
          <a:extLst>
            <a:ext uri="{909E8E84-426E-40DD-AFC4-6F175D3DCCD1}">
              <a14:hiddenFill xmlns:a14="http://schemas.microsoft.com/office/drawing/2010/main">
                <a:solidFill>
                  <a:srgbClr val="FFFFFF"/>
                </a:solidFill>
              </a14:hiddenFill>
            </a:ext>
          </a:extLst>
        </p:spPr>
      </p:pic>
      <p:pic>
        <p:nvPicPr>
          <p:cNvPr id="10245" name="Picture 110438">
            <a:extLst>
              <a:ext uri="{FF2B5EF4-FFF2-40B4-BE49-F238E27FC236}">
                <a16:creationId xmlns:a16="http://schemas.microsoft.com/office/drawing/2014/main" id="{492D7BDD-F941-41FC-9BA2-EBD156166F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1615" y="3630871"/>
            <a:ext cx="1941443" cy="1400643"/>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110439">
            <a:extLst>
              <a:ext uri="{FF2B5EF4-FFF2-40B4-BE49-F238E27FC236}">
                <a16:creationId xmlns:a16="http://schemas.microsoft.com/office/drawing/2014/main" id="{6F155F0F-F9B7-49D7-A270-00A4566B91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0671" y="5323798"/>
            <a:ext cx="1941443" cy="1400643"/>
          </a:xfrm>
          <a:prstGeom prst="rect">
            <a:avLst/>
          </a:prstGeom>
          <a:noFill/>
          <a:extLst>
            <a:ext uri="{909E8E84-426E-40DD-AFC4-6F175D3DCCD1}">
              <a14:hiddenFill xmlns:a14="http://schemas.microsoft.com/office/drawing/2010/main">
                <a:solidFill>
                  <a:srgbClr val="FFFFFF"/>
                </a:solidFill>
              </a14:hiddenFill>
            </a:ext>
          </a:extLst>
        </p:spPr>
      </p:pic>
      <p:sp>
        <p:nvSpPr>
          <p:cNvPr id="46" name="ZoneTexte 64">
            <a:extLst>
              <a:ext uri="{FF2B5EF4-FFF2-40B4-BE49-F238E27FC236}">
                <a16:creationId xmlns:a16="http://schemas.microsoft.com/office/drawing/2014/main" id="{6FF99FB1-2810-4E5C-BC1F-D98CE9BAF407}"/>
              </a:ext>
            </a:extLst>
          </p:cNvPr>
          <p:cNvSpPr txBox="1"/>
          <p:nvPr/>
        </p:nvSpPr>
        <p:spPr>
          <a:xfrm>
            <a:off x="141961" y="2436424"/>
            <a:ext cx="4604213"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rgbClr val="808080">
                    <a:lumMod val="40000"/>
                    <a:lumOff val="60000"/>
                  </a:srgbClr>
                </a:solidFill>
                <a:latin typeface="Lato  "/>
              </a:rPr>
              <a:t>3- Préhenseur de poste BM50</a:t>
            </a:r>
          </a:p>
        </p:txBody>
      </p:sp>
      <p:sp>
        <p:nvSpPr>
          <p:cNvPr id="48" name="ZoneTexte 64">
            <a:extLst>
              <a:ext uri="{FF2B5EF4-FFF2-40B4-BE49-F238E27FC236}">
                <a16:creationId xmlns:a16="http://schemas.microsoft.com/office/drawing/2014/main" id="{C10D276C-F2D0-45B1-B8B2-04CCC2409E6B}"/>
              </a:ext>
            </a:extLst>
          </p:cNvPr>
          <p:cNvSpPr txBox="1"/>
          <p:nvPr/>
        </p:nvSpPr>
        <p:spPr>
          <a:xfrm>
            <a:off x="144038" y="2905724"/>
            <a:ext cx="2538516"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rgbClr val="808080">
                    <a:lumMod val="40000"/>
                    <a:lumOff val="60000"/>
                  </a:srgbClr>
                </a:solidFill>
                <a:latin typeface="Lato  "/>
              </a:rPr>
              <a:t>4- Serrage des romaines</a:t>
            </a:r>
          </a:p>
        </p:txBody>
      </p:sp>
      <p:sp>
        <p:nvSpPr>
          <p:cNvPr id="50" name="ZoneTexte 64">
            <a:extLst>
              <a:ext uri="{FF2B5EF4-FFF2-40B4-BE49-F238E27FC236}">
                <a16:creationId xmlns:a16="http://schemas.microsoft.com/office/drawing/2014/main" id="{B078AFFD-4243-4AAB-B919-B8FA1AC9D843}"/>
              </a:ext>
            </a:extLst>
          </p:cNvPr>
          <p:cNvSpPr txBox="1"/>
          <p:nvPr/>
        </p:nvSpPr>
        <p:spPr>
          <a:xfrm>
            <a:off x="138920" y="3414445"/>
            <a:ext cx="2538516"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rgbClr val="808080">
                    <a:lumMod val="40000"/>
                    <a:lumOff val="60000"/>
                  </a:srgbClr>
                </a:solidFill>
                <a:latin typeface="Lato  "/>
              </a:rPr>
              <a:t>5- les cartes de Contrôle</a:t>
            </a:r>
          </a:p>
        </p:txBody>
      </p:sp>
    </p:spTree>
    <p:extLst>
      <p:ext uri="{BB962C8B-B14F-4D97-AF65-F5344CB8AC3E}">
        <p14:creationId xmlns:p14="http://schemas.microsoft.com/office/powerpoint/2010/main" val="831786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mph" presetSubtype="0" fill="remove" grpId="0" nodeType="afterEffect">
                                  <p:stCondLst>
                                    <p:cond delay="0"/>
                                  </p:stCondLst>
                                  <p:childTnLst>
                                    <p:animClr clrSpc="rgb" dir="cw">
                                      <p:cBhvr override="childStyle">
                                        <p:cTn id="6" dur="250" autoRev="1" fill="remove"/>
                                        <p:tgtEl>
                                          <p:spTgt spid="126"/>
                                        </p:tgtEl>
                                        <p:attrNameLst>
                                          <p:attrName>style.color</p:attrName>
                                        </p:attrNameLst>
                                      </p:cBhvr>
                                      <p:to>
                                        <a:schemeClr val="bg1"/>
                                      </p:to>
                                    </p:animClr>
                                    <p:animClr clrSpc="rgb" dir="cw">
                                      <p:cBhvr>
                                        <p:cTn id="7" dur="250" autoRev="1" fill="remove"/>
                                        <p:tgtEl>
                                          <p:spTgt spid="126"/>
                                        </p:tgtEl>
                                        <p:attrNameLst>
                                          <p:attrName>fillcolor</p:attrName>
                                        </p:attrNameLst>
                                      </p:cBhvr>
                                      <p:to>
                                        <a:schemeClr val="bg1"/>
                                      </p:to>
                                    </p:animClr>
                                    <p:set>
                                      <p:cBhvr>
                                        <p:cTn id="8" dur="250" autoRev="1" fill="remove"/>
                                        <p:tgtEl>
                                          <p:spTgt spid="126"/>
                                        </p:tgtEl>
                                        <p:attrNameLst>
                                          <p:attrName>fill.type</p:attrName>
                                        </p:attrNameLst>
                                      </p:cBhvr>
                                      <p:to>
                                        <p:strVal val="solid"/>
                                      </p:to>
                                    </p:set>
                                    <p:set>
                                      <p:cBhvr>
                                        <p:cTn id="9" dur="250" autoRev="1" fill="remove"/>
                                        <p:tgtEl>
                                          <p:spTgt spid="126"/>
                                        </p:tgtEl>
                                        <p:attrNameLst>
                                          <p:attrName>fill.on</p:attrName>
                                        </p:attrNameLst>
                                      </p:cBhvr>
                                      <p:to>
                                        <p:strVal val="true"/>
                                      </p:to>
                                    </p:se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p:cTn id="14" dur="500" fill="hold"/>
                                        <p:tgtEl>
                                          <p:spTgt spid="5"/>
                                        </p:tgtEl>
                                        <p:attrNameLst>
                                          <p:attrName>ppt_w</p:attrName>
                                        </p:attrNameLst>
                                      </p:cBhvr>
                                      <p:tavLst>
                                        <p:tav tm="0">
                                          <p:val>
                                            <p:fltVal val="0"/>
                                          </p:val>
                                        </p:tav>
                                        <p:tav tm="100000">
                                          <p:val>
                                            <p:strVal val="#ppt_w"/>
                                          </p:val>
                                        </p:tav>
                                      </p:tavLst>
                                    </p:anim>
                                    <p:anim calcmode="lin" valueType="num">
                                      <p:cBhvr>
                                        <p:cTn id="15" dur="500" fill="hold"/>
                                        <p:tgtEl>
                                          <p:spTgt spid="5"/>
                                        </p:tgtEl>
                                        <p:attrNameLst>
                                          <p:attrName>ppt_h</p:attrName>
                                        </p:attrNameLst>
                                      </p:cBhvr>
                                      <p:tavLst>
                                        <p:tav tm="0">
                                          <p:val>
                                            <p:fltVal val="0"/>
                                          </p:val>
                                        </p:tav>
                                        <p:tav tm="100000">
                                          <p:val>
                                            <p:strVal val="#ppt_h"/>
                                          </p:val>
                                        </p:tav>
                                      </p:tavLst>
                                    </p:anim>
                                    <p:animEffect transition="in" filter="fade">
                                      <p:cBhvr>
                                        <p:cTn id="16" dur="500"/>
                                        <p:tgtEl>
                                          <p:spTgt spid="5"/>
                                        </p:tgtEl>
                                      </p:cBhvr>
                                    </p:animEffect>
                                  </p:childTnLst>
                                </p:cTn>
                              </p:par>
                              <p:par>
                                <p:cTn id="17" presetID="53" presetClass="entr" presetSubtype="16" fill="hold" nodeType="withEffect">
                                  <p:stCondLst>
                                    <p:cond delay="0"/>
                                  </p:stCondLst>
                                  <p:childTnLst>
                                    <p:set>
                                      <p:cBhvr>
                                        <p:cTn id="18" dur="1" fill="hold">
                                          <p:stCondLst>
                                            <p:cond delay="0"/>
                                          </p:stCondLst>
                                        </p:cTn>
                                        <p:tgtEl>
                                          <p:spTgt spid="10246"/>
                                        </p:tgtEl>
                                        <p:attrNameLst>
                                          <p:attrName>style.visibility</p:attrName>
                                        </p:attrNameLst>
                                      </p:cBhvr>
                                      <p:to>
                                        <p:strVal val="visible"/>
                                      </p:to>
                                    </p:set>
                                    <p:anim calcmode="lin" valueType="num">
                                      <p:cBhvr>
                                        <p:cTn id="19" dur="500" fill="hold"/>
                                        <p:tgtEl>
                                          <p:spTgt spid="10246"/>
                                        </p:tgtEl>
                                        <p:attrNameLst>
                                          <p:attrName>ppt_w</p:attrName>
                                        </p:attrNameLst>
                                      </p:cBhvr>
                                      <p:tavLst>
                                        <p:tav tm="0">
                                          <p:val>
                                            <p:fltVal val="0"/>
                                          </p:val>
                                        </p:tav>
                                        <p:tav tm="100000">
                                          <p:val>
                                            <p:strVal val="#ppt_w"/>
                                          </p:val>
                                        </p:tav>
                                      </p:tavLst>
                                    </p:anim>
                                    <p:anim calcmode="lin" valueType="num">
                                      <p:cBhvr>
                                        <p:cTn id="20" dur="500" fill="hold"/>
                                        <p:tgtEl>
                                          <p:spTgt spid="10246"/>
                                        </p:tgtEl>
                                        <p:attrNameLst>
                                          <p:attrName>ppt_h</p:attrName>
                                        </p:attrNameLst>
                                      </p:cBhvr>
                                      <p:tavLst>
                                        <p:tav tm="0">
                                          <p:val>
                                            <p:fltVal val="0"/>
                                          </p:val>
                                        </p:tav>
                                        <p:tav tm="100000">
                                          <p:val>
                                            <p:strVal val="#ppt_h"/>
                                          </p:val>
                                        </p:tav>
                                      </p:tavLst>
                                    </p:anim>
                                    <p:animEffect transition="in" filter="fade">
                                      <p:cBhvr>
                                        <p:cTn id="21" dur="500"/>
                                        <p:tgtEl>
                                          <p:spTgt spid="10246"/>
                                        </p:tgtEl>
                                      </p:cBhvr>
                                    </p:animEffect>
                                  </p:childTnLst>
                                </p:cTn>
                              </p:par>
                              <p:par>
                                <p:cTn id="22" presetID="53" presetClass="entr" presetSubtype="16" fill="hold" nodeType="withEffect">
                                  <p:stCondLst>
                                    <p:cond delay="0"/>
                                  </p:stCondLst>
                                  <p:childTnLst>
                                    <p:set>
                                      <p:cBhvr>
                                        <p:cTn id="23" dur="1" fill="hold">
                                          <p:stCondLst>
                                            <p:cond delay="0"/>
                                          </p:stCondLst>
                                        </p:cTn>
                                        <p:tgtEl>
                                          <p:spTgt spid="10245"/>
                                        </p:tgtEl>
                                        <p:attrNameLst>
                                          <p:attrName>style.visibility</p:attrName>
                                        </p:attrNameLst>
                                      </p:cBhvr>
                                      <p:to>
                                        <p:strVal val="visible"/>
                                      </p:to>
                                    </p:set>
                                    <p:anim calcmode="lin" valueType="num">
                                      <p:cBhvr>
                                        <p:cTn id="24" dur="500" fill="hold"/>
                                        <p:tgtEl>
                                          <p:spTgt spid="10245"/>
                                        </p:tgtEl>
                                        <p:attrNameLst>
                                          <p:attrName>ppt_w</p:attrName>
                                        </p:attrNameLst>
                                      </p:cBhvr>
                                      <p:tavLst>
                                        <p:tav tm="0">
                                          <p:val>
                                            <p:fltVal val="0"/>
                                          </p:val>
                                        </p:tav>
                                        <p:tav tm="100000">
                                          <p:val>
                                            <p:strVal val="#ppt_w"/>
                                          </p:val>
                                        </p:tav>
                                      </p:tavLst>
                                    </p:anim>
                                    <p:anim calcmode="lin" valueType="num">
                                      <p:cBhvr>
                                        <p:cTn id="25" dur="500" fill="hold"/>
                                        <p:tgtEl>
                                          <p:spTgt spid="10245"/>
                                        </p:tgtEl>
                                        <p:attrNameLst>
                                          <p:attrName>ppt_h</p:attrName>
                                        </p:attrNameLst>
                                      </p:cBhvr>
                                      <p:tavLst>
                                        <p:tav tm="0">
                                          <p:val>
                                            <p:fltVal val="0"/>
                                          </p:val>
                                        </p:tav>
                                        <p:tav tm="100000">
                                          <p:val>
                                            <p:strVal val="#ppt_h"/>
                                          </p:val>
                                        </p:tav>
                                      </p:tavLst>
                                    </p:anim>
                                    <p:animEffect transition="in" filter="fade">
                                      <p:cBhvr>
                                        <p:cTn id="26" dur="500"/>
                                        <p:tgtEl>
                                          <p:spTgt spid="10245"/>
                                        </p:tgtEl>
                                      </p:cBhvr>
                                    </p:animEffect>
                                  </p:childTnLst>
                                </p:cTn>
                              </p:par>
                              <p:par>
                                <p:cTn id="27" presetID="53" presetClass="entr" presetSubtype="16" fill="hold" nodeType="withEffect">
                                  <p:stCondLst>
                                    <p:cond delay="0"/>
                                  </p:stCondLst>
                                  <p:childTnLst>
                                    <p:set>
                                      <p:cBhvr>
                                        <p:cTn id="28" dur="1" fill="hold">
                                          <p:stCondLst>
                                            <p:cond delay="0"/>
                                          </p:stCondLst>
                                        </p:cTn>
                                        <p:tgtEl>
                                          <p:spTgt spid="10244"/>
                                        </p:tgtEl>
                                        <p:attrNameLst>
                                          <p:attrName>style.visibility</p:attrName>
                                        </p:attrNameLst>
                                      </p:cBhvr>
                                      <p:to>
                                        <p:strVal val="visible"/>
                                      </p:to>
                                    </p:set>
                                    <p:anim calcmode="lin" valueType="num">
                                      <p:cBhvr>
                                        <p:cTn id="29" dur="500" fill="hold"/>
                                        <p:tgtEl>
                                          <p:spTgt spid="10244"/>
                                        </p:tgtEl>
                                        <p:attrNameLst>
                                          <p:attrName>ppt_w</p:attrName>
                                        </p:attrNameLst>
                                      </p:cBhvr>
                                      <p:tavLst>
                                        <p:tav tm="0">
                                          <p:val>
                                            <p:fltVal val="0"/>
                                          </p:val>
                                        </p:tav>
                                        <p:tav tm="100000">
                                          <p:val>
                                            <p:strVal val="#ppt_w"/>
                                          </p:val>
                                        </p:tav>
                                      </p:tavLst>
                                    </p:anim>
                                    <p:anim calcmode="lin" valueType="num">
                                      <p:cBhvr>
                                        <p:cTn id="30" dur="500" fill="hold"/>
                                        <p:tgtEl>
                                          <p:spTgt spid="10244"/>
                                        </p:tgtEl>
                                        <p:attrNameLst>
                                          <p:attrName>ppt_h</p:attrName>
                                        </p:attrNameLst>
                                      </p:cBhvr>
                                      <p:tavLst>
                                        <p:tav tm="0">
                                          <p:val>
                                            <p:fltVal val="0"/>
                                          </p:val>
                                        </p:tav>
                                        <p:tav tm="100000">
                                          <p:val>
                                            <p:strVal val="#ppt_h"/>
                                          </p:val>
                                        </p:tav>
                                      </p:tavLst>
                                    </p:anim>
                                    <p:animEffect transition="in" filter="fade">
                                      <p:cBhvr>
                                        <p:cTn id="31" dur="500"/>
                                        <p:tgtEl>
                                          <p:spTgt spid="10244"/>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xit" presetSubtype="4" fill="hold" nodeType="clickEffect">
                                  <p:stCondLst>
                                    <p:cond delay="0"/>
                                  </p:stCondLst>
                                  <p:childTnLst>
                                    <p:animEffect transition="out" filter="wipe(down)">
                                      <p:cBhvr>
                                        <p:cTn id="35" dur="500"/>
                                        <p:tgtEl>
                                          <p:spTgt spid="5"/>
                                        </p:tgtEl>
                                      </p:cBhvr>
                                    </p:animEffect>
                                    <p:set>
                                      <p:cBhvr>
                                        <p:cTn id="36" dur="1" fill="hold">
                                          <p:stCondLst>
                                            <p:cond delay="499"/>
                                          </p:stCondLst>
                                        </p:cTn>
                                        <p:tgtEl>
                                          <p:spTgt spid="5"/>
                                        </p:tgtEl>
                                        <p:attrNameLst>
                                          <p:attrName>style.visibility</p:attrName>
                                        </p:attrNameLst>
                                      </p:cBhvr>
                                      <p:to>
                                        <p:strVal val="hidden"/>
                                      </p:to>
                                    </p:set>
                                  </p:childTnLst>
                                </p:cTn>
                              </p:par>
                              <p:par>
                                <p:cTn id="37" presetID="22" presetClass="exit" presetSubtype="4" fill="hold" nodeType="withEffect">
                                  <p:stCondLst>
                                    <p:cond delay="0"/>
                                  </p:stCondLst>
                                  <p:childTnLst>
                                    <p:animEffect transition="out" filter="wipe(down)">
                                      <p:cBhvr>
                                        <p:cTn id="38" dur="500"/>
                                        <p:tgtEl>
                                          <p:spTgt spid="10246"/>
                                        </p:tgtEl>
                                      </p:cBhvr>
                                    </p:animEffect>
                                    <p:set>
                                      <p:cBhvr>
                                        <p:cTn id="39" dur="1" fill="hold">
                                          <p:stCondLst>
                                            <p:cond delay="499"/>
                                          </p:stCondLst>
                                        </p:cTn>
                                        <p:tgtEl>
                                          <p:spTgt spid="10246"/>
                                        </p:tgtEl>
                                        <p:attrNameLst>
                                          <p:attrName>style.visibility</p:attrName>
                                        </p:attrNameLst>
                                      </p:cBhvr>
                                      <p:to>
                                        <p:strVal val="hidden"/>
                                      </p:to>
                                    </p:set>
                                  </p:childTnLst>
                                </p:cTn>
                              </p:par>
                              <p:par>
                                <p:cTn id="40" presetID="22" presetClass="exit" presetSubtype="4" fill="hold" nodeType="withEffect">
                                  <p:stCondLst>
                                    <p:cond delay="0"/>
                                  </p:stCondLst>
                                  <p:childTnLst>
                                    <p:animEffect transition="out" filter="wipe(down)">
                                      <p:cBhvr>
                                        <p:cTn id="41" dur="500"/>
                                        <p:tgtEl>
                                          <p:spTgt spid="10245"/>
                                        </p:tgtEl>
                                      </p:cBhvr>
                                    </p:animEffect>
                                    <p:set>
                                      <p:cBhvr>
                                        <p:cTn id="42" dur="1" fill="hold">
                                          <p:stCondLst>
                                            <p:cond delay="499"/>
                                          </p:stCondLst>
                                        </p:cTn>
                                        <p:tgtEl>
                                          <p:spTgt spid="10245"/>
                                        </p:tgtEl>
                                        <p:attrNameLst>
                                          <p:attrName>style.visibility</p:attrName>
                                        </p:attrNameLst>
                                      </p:cBhvr>
                                      <p:to>
                                        <p:strVal val="hidden"/>
                                      </p:to>
                                    </p:set>
                                  </p:childTnLst>
                                </p:cTn>
                              </p:par>
                              <p:par>
                                <p:cTn id="43" presetID="22" presetClass="exit" presetSubtype="4" fill="hold" nodeType="withEffect">
                                  <p:stCondLst>
                                    <p:cond delay="0"/>
                                  </p:stCondLst>
                                  <p:childTnLst>
                                    <p:animEffect transition="out" filter="wipe(down)">
                                      <p:cBhvr>
                                        <p:cTn id="44" dur="500"/>
                                        <p:tgtEl>
                                          <p:spTgt spid="10244"/>
                                        </p:tgtEl>
                                      </p:cBhvr>
                                    </p:animEffect>
                                    <p:set>
                                      <p:cBhvr>
                                        <p:cTn id="45" dur="1" fill="hold">
                                          <p:stCondLst>
                                            <p:cond delay="499"/>
                                          </p:stCondLst>
                                        </p:cTn>
                                        <p:tgtEl>
                                          <p:spTgt spid="1024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01.</a:t>
            </a:r>
          </a:p>
        </p:txBody>
      </p:sp>
      <p:sp>
        <p:nvSpPr>
          <p:cNvPr id="3" name="Espace réservé de la date 2"/>
          <p:cNvSpPr>
            <a:spLocks noGrp="1"/>
          </p:cNvSpPr>
          <p:nvPr>
            <p:ph type="dt" sz="half" idx="10"/>
          </p:nvPr>
        </p:nvSpPr>
        <p:spPr/>
        <p:txBody>
          <a:bodyPr/>
          <a:lstStyle/>
          <a:p>
            <a:r>
              <a:rPr lang="fr-FR" noProof="0"/>
              <a:t>Date</a:t>
            </a:r>
            <a:endParaRPr lang="en-US" noProof="0" dirty="0"/>
          </a:p>
        </p:txBody>
      </p:sp>
      <p:sp>
        <p:nvSpPr>
          <p:cNvPr id="4" name="Espace réservé du pied de page 3"/>
          <p:cNvSpPr>
            <a:spLocks noGrp="1"/>
          </p:cNvSpPr>
          <p:nvPr>
            <p:ph type="ftr" sz="quarter" idx="11"/>
          </p:nvPr>
        </p:nvSpPr>
        <p:spPr/>
        <p:txBody>
          <a:bodyPr/>
          <a:lstStyle/>
          <a:p>
            <a:r>
              <a:rPr lang="en-US" noProof="0"/>
              <a:t>Presentation title</a:t>
            </a:r>
            <a:endParaRPr lang="en-US" noProof="0" dirty="0"/>
          </a:p>
        </p:txBody>
      </p:sp>
      <p:sp>
        <p:nvSpPr>
          <p:cNvPr id="5" name="Espace réservé du numéro de diapositive 4"/>
          <p:cNvSpPr>
            <a:spLocks noGrp="1"/>
          </p:cNvSpPr>
          <p:nvPr>
            <p:ph type="sldNum" sz="quarter" idx="12"/>
          </p:nvPr>
        </p:nvSpPr>
        <p:spPr/>
        <p:txBody>
          <a:bodyPr/>
          <a:lstStyle/>
          <a:p>
            <a:fld id="{10C140CD-8AED-46FF-A9A2-77308F3F39AE}" type="slidenum">
              <a:rPr lang="en-US" noProof="0" smtClean="0"/>
              <a:pPr/>
              <a:t>3</a:t>
            </a:fld>
            <a:endParaRPr lang="en-US" noProof="0" dirty="0"/>
          </a:p>
        </p:txBody>
      </p:sp>
      <p:sp>
        <p:nvSpPr>
          <p:cNvPr id="6" name="Espace réservé du texte 5"/>
          <p:cNvSpPr>
            <a:spLocks noGrp="1"/>
          </p:cNvSpPr>
          <p:nvPr>
            <p:ph type="body" sz="quarter" idx="13"/>
          </p:nvPr>
        </p:nvSpPr>
        <p:spPr/>
        <p:txBody>
          <a:bodyPr/>
          <a:lstStyle/>
          <a:p>
            <a:r>
              <a:rPr lang="fr-FR" dirty="0"/>
              <a:t>INTRODUCTION</a:t>
            </a:r>
          </a:p>
        </p:txBody>
      </p:sp>
    </p:spTree>
    <p:extLst>
      <p:ext uri="{BB962C8B-B14F-4D97-AF65-F5344CB8AC3E}">
        <p14:creationId xmlns:p14="http://schemas.microsoft.com/office/powerpoint/2010/main" val="35538291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br>
              <a:rPr lang="fr-FR" sz="2400" dirty="0"/>
            </a:br>
            <a:r>
              <a:rPr lang="fr-FR" sz="2400" dirty="0"/>
              <a:t>     INTRODUCTION</a:t>
            </a:r>
          </a:p>
        </p:txBody>
      </p:sp>
      <p:sp>
        <p:nvSpPr>
          <p:cNvPr id="3" name="object 10"/>
          <p:cNvSpPr txBox="1"/>
          <p:nvPr/>
        </p:nvSpPr>
        <p:spPr>
          <a:xfrm>
            <a:off x="1028200" y="3654569"/>
            <a:ext cx="3424948" cy="391628"/>
          </a:xfrm>
          <a:prstGeom prst="round2SameRect">
            <a:avLst>
              <a:gd name="adj1" fmla="val 0"/>
              <a:gd name="adj2" fmla="val 0"/>
            </a:avLst>
          </a:prstGeom>
          <a:solidFill>
            <a:schemeClr val="tx2"/>
          </a:solidFill>
        </p:spPr>
        <p:txBody>
          <a:bodyPr vert="horz" wrap="square" lIns="144000" tIns="72000" rIns="72000" bIns="72000" rtlCol="0">
            <a:spAutoFit/>
          </a:bodyPr>
          <a:lstStyle/>
          <a:p>
            <a:pPr marR="48895">
              <a:lnSpc>
                <a:spcPct val="100000"/>
              </a:lnSpc>
              <a:spcBef>
                <a:spcPts val="1655"/>
              </a:spcBef>
            </a:pPr>
            <a:r>
              <a:rPr lang="fr-FR" sz="1600" spc="-10" dirty="0">
                <a:solidFill>
                  <a:schemeClr val="bg1"/>
                </a:solidFill>
                <a:latin typeface="Arial Black"/>
                <a:cs typeface="Arial Black"/>
              </a:rPr>
              <a:t>Objectif de la formation</a:t>
            </a:r>
            <a:endParaRPr sz="1600" dirty="0">
              <a:solidFill>
                <a:schemeClr val="bg1"/>
              </a:solidFill>
              <a:latin typeface="Arial Black"/>
              <a:cs typeface="Arial Black"/>
            </a:endParaRPr>
          </a:p>
        </p:txBody>
      </p:sp>
      <p:sp>
        <p:nvSpPr>
          <p:cNvPr id="5" name="object 10"/>
          <p:cNvSpPr txBox="1"/>
          <p:nvPr/>
        </p:nvSpPr>
        <p:spPr>
          <a:xfrm>
            <a:off x="7588294" y="1290877"/>
            <a:ext cx="3424948" cy="391628"/>
          </a:xfrm>
          <a:prstGeom prst="round2SameRect">
            <a:avLst>
              <a:gd name="adj1" fmla="val 0"/>
              <a:gd name="adj2" fmla="val 0"/>
            </a:avLst>
          </a:prstGeom>
          <a:solidFill>
            <a:schemeClr val="tx2"/>
          </a:solidFill>
        </p:spPr>
        <p:txBody>
          <a:bodyPr vert="horz" wrap="square" lIns="144000" tIns="72000" rIns="72000" bIns="72000" rtlCol="0">
            <a:spAutoFit/>
          </a:bodyPr>
          <a:lstStyle/>
          <a:p>
            <a:pPr marR="48895">
              <a:lnSpc>
                <a:spcPct val="100000"/>
              </a:lnSpc>
              <a:spcBef>
                <a:spcPts val="1655"/>
              </a:spcBef>
            </a:pPr>
            <a:r>
              <a:rPr lang="fr-FR" sz="1600" spc="-10" dirty="0">
                <a:solidFill>
                  <a:schemeClr val="bg1"/>
                </a:solidFill>
                <a:latin typeface="Arial Black"/>
                <a:cs typeface="Arial Black"/>
              </a:rPr>
              <a:t>Prérequis</a:t>
            </a:r>
            <a:endParaRPr sz="1600" dirty="0">
              <a:solidFill>
                <a:schemeClr val="bg1"/>
              </a:solidFill>
              <a:latin typeface="Arial Black"/>
              <a:cs typeface="Arial Black"/>
            </a:endParaRPr>
          </a:p>
        </p:txBody>
      </p:sp>
      <p:sp>
        <p:nvSpPr>
          <p:cNvPr id="8" name="object 11"/>
          <p:cNvSpPr txBox="1"/>
          <p:nvPr/>
        </p:nvSpPr>
        <p:spPr>
          <a:xfrm>
            <a:off x="7588294" y="1667105"/>
            <a:ext cx="3424948" cy="1352320"/>
          </a:xfrm>
          <a:prstGeom prst="rect">
            <a:avLst/>
          </a:prstGeom>
          <a:solidFill>
            <a:schemeClr val="bg1">
              <a:lumMod val="95000"/>
            </a:schemeClr>
          </a:solidFill>
        </p:spPr>
        <p:txBody>
          <a:bodyPr vert="horz" wrap="square" lIns="91440" tIns="91440" rIns="91440" bIns="144000" rtlCol="0">
            <a:noAutofit/>
          </a:bodyPr>
          <a:lstStyle/>
          <a:p>
            <a:pPr marL="115888" indent="-103188">
              <a:lnSpc>
                <a:spcPct val="100000"/>
              </a:lnSpc>
              <a:spcBef>
                <a:spcPts val="300"/>
              </a:spcBef>
              <a:buClr>
                <a:schemeClr val="tx2"/>
              </a:buClr>
              <a:buChar char="•"/>
            </a:pPr>
            <a:r>
              <a:rPr lang="fr-FR" sz="1400" spc="-10" dirty="0">
                <a:cs typeface="Arial"/>
              </a:rPr>
              <a:t>Cette formation nécessite des connaissances de base en PLM</a:t>
            </a:r>
          </a:p>
          <a:p>
            <a:pPr marL="115888" indent="-103188">
              <a:spcBef>
                <a:spcPts val="300"/>
              </a:spcBef>
              <a:buClr>
                <a:schemeClr val="tx2"/>
              </a:buClr>
              <a:buFontTx/>
              <a:buChar char="•"/>
            </a:pPr>
            <a:r>
              <a:rPr lang="fr-FR" sz="1400" spc="-10" dirty="0">
                <a:cs typeface="Arial"/>
              </a:rPr>
              <a:t>Cette formation nécessite des connaissances de base en PowerTools</a:t>
            </a:r>
          </a:p>
          <a:p>
            <a:pPr marL="115888" indent="-103188">
              <a:lnSpc>
                <a:spcPct val="100000"/>
              </a:lnSpc>
              <a:spcBef>
                <a:spcPts val="300"/>
              </a:spcBef>
              <a:buClr>
                <a:schemeClr val="tx2"/>
              </a:buClr>
              <a:buChar char="•"/>
            </a:pPr>
            <a:endParaRPr lang="fr-FR" sz="1400" spc="-10" dirty="0">
              <a:cs typeface="Arial"/>
            </a:endParaRPr>
          </a:p>
          <a:p>
            <a:pPr marL="12700">
              <a:lnSpc>
                <a:spcPct val="100000"/>
              </a:lnSpc>
              <a:spcBef>
                <a:spcPts val="300"/>
              </a:spcBef>
              <a:buClr>
                <a:schemeClr val="tx2"/>
              </a:buClr>
            </a:pPr>
            <a:endParaRPr lang="en-US" sz="1200" spc="-10" dirty="0">
              <a:cs typeface="Arial"/>
            </a:endParaRPr>
          </a:p>
        </p:txBody>
      </p:sp>
      <p:sp>
        <p:nvSpPr>
          <p:cNvPr id="9" name="object 10"/>
          <p:cNvSpPr txBox="1"/>
          <p:nvPr/>
        </p:nvSpPr>
        <p:spPr>
          <a:xfrm>
            <a:off x="1028200" y="1287562"/>
            <a:ext cx="3424948" cy="391628"/>
          </a:xfrm>
          <a:prstGeom prst="round2SameRect">
            <a:avLst>
              <a:gd name="adj1" fmla="val 0"/>
              <a:gd name="adj2" fmla="val 0"/>
            </a:avLst>
          </a:prstGeom>
          <a:solidFill>
            <a:schemeClr val="tx2"/>
          </a:solidFill>
        </p:spPr>
        <p:txBody>
          <a:bodyPr vert="horz" wrap="square" lIns="144000" tIns="72000" rIns="72000" bIns="72000" rtlCol="0">
            <a:spAutoFit/>
          </a:bodyPr>
          <a:lstStyle/>
          <a:p>
            <a:pPr marR="48895">
              <a:lnSpc>
                <a:spcPct val="100000"/>
              </a:lnSpc>
              <a:spcBef>
                <a:spcPts val="1655"/>
              </a:spcBef>
            </a:pPr>
            <a:r>
              <a:rPr lang="fr-FR" sz="1600" spc="-10" dirty="0">
                <a:solidFill>
                  <a:schemeClr val="bg1"/>
                </a:solidFill>
                <a:latin typeface="Arial Black"/>
                <a:cs typeface="Arial Black"/>
              </a:rPr>
              <a:t>Population cible</a:t>
            </a:r>
            <a:endParaRPr sz="1600" dirty="0">
              <a:solidFill>
                <a:schemeClr val="bg1"/>
              </a:solidFill>
              <a:latin typeface="Arial Black"/>
              <a:cs typeface="Arial Black"/>
            </a:endParaRPr>
          </a:p>
        </p:txBody>
      </p:sp>
      <p:sp>
        <p:nvSpPr>
          <p:cNvPr id="10" name="object 11"/>
          <p:cNvSpPr txBox="1"/>
          <p:nvPr/>
        </p:nvSpPr>
        <p:spPr>
          <a:xfrm>
            <a:off x="1028200" y="1663789"/>
            <a:ext cx="3424948" cy="1567303"/>
          </a:xfrm>
          <a:prstGeom prst="rect">
            <a:avLst/>
          </a:prstGeom>
          <a:solidFill>
            <a:schemeClr val="bg1">
              <a:lumMod val="95000"/>
            </a:schemeClr>
          </a:solidFill>
        </p:spPr>
        <p:txBody>
          <a:bodyPr vert="horz" wrap="square" lIns="91440" tIns="91440" rIns="91440" bIns="144000" rtlCol="0">
            <a:noAutofit/>
          </a:bodyPr>
          <a:lstStyle/>
          <a:p>
            <a:pPr marL="115888" indent="-103188">
              <a:lnSpc>
                <a:spcPct val="100000"/>
              </a:lnSpc>
              <a:spcBef>
                <a:spcPts val="300"/>
              </a:spcBef>
              <a:buClr>
                <a:schemeClr val="tx2"/>
              </a:buClr>
              <a:buChar char="•"/>
            </a:pPr>
            <a:r>
              <a:rPr lang="fr-FR" sz="1400" spc="-10" dirty="0">
                <a:cs typeface="Arial"/>
              </a:rPr>
              <a:t>La formation s’adresse aux consultants de CAPGEMINI ENGINEERING qui seront amenés à produire des livrables ayant comme prérequis cette formation </a:t>
            </a:r>
          </a:p>
          <a:p>
            <a:pPr marL="115888" indent="-103188">
              <a:lnSpc>
                <a:spcPct val="100000"/>
              </a:lnSpc>
              <a:spcBef>
                <a:spcPts val="300"/>
              </a:spcBef>
              <a:buClr>
                <a:schemeClr val="tx2"/>
              </a:buClr>
              <a:buChar char="•"/>
            </a:pPr>
            <a:endParaRPr lang="en-US" sz="1200" spc="-10" dirty="0">
              <a:cs typeface="Arial"/>
            </a:endParaRPr>
          </a:p>
        </p:txBody>
      </p:sp>
      <p:pic>
        <p:nvPicPr>
          <p:cNvPr id="11" name="Graphic 53">
            <a:extLst>
              <a:ext uri="{FF2B5EF4-FFF2-40B4-BE49-F238E27FC236}">
                <a16:creationId xmlns:a16="http://schemas.microsoft.com/office/drawing/2014/main" id="{9A3CA825-4B2F-4379-958E-78B21AF424E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368" y="1322390"/>
            <a:ext cx="447273" cy="344714"/>
          </a:xfrm>
          <a:prstGeom prst="rect">
            <a:avLst/>
          </a:prstGeom>
        </p:spPr>
      </p:pic>
      <p:pic>
        <p:nvPicPr>
          <p:cNvPr id="13" name="Picture 60">
            <a:extLst>
              <a:ext uri="{FF2B5EF4-FFF2-40B4-BE49-F238E27FC236}">
                <a16:creationId xmlns:a16="http://schemas.microsoft.com/office/drawing/2014/main" id="{89EDD137-69BC-4E55-99A0-9F730CDCDC38}"/>
              </a:ext>
            </a:extLst>
          </p:cNvPr>
          <p:cNvPicPr>
            <a:picLocks noChangeAspect="1"/>
          </p:cNvPicPr>
          <p:nvPr/>
        </p:nvPicPr>
        <p:blipFill>
          <a:blip r:embed="rId4"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7180791" y="1250208"/>
            <a:ext cx="317938" cy="413581"/>
          </a:xfrm>
          <a:prstGeom prst="rect">
            <a:avLst/>
          </a:prstGeom>
          <a:noFill/>
        </p:spPr>
      </p:pic>
      <p:pic>
        <p:nvPicPr>
          <p:cNvPr id="15" name="Image 14" descr="Target And Arrow Vector Icon. Darts Dartboard, Business Aim Target Symbol  Stock Vector - Illustration of dart, hunting: 13915170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10897"/>
          <a:stretch/>
        </p:blipFill>
        <p:spPr bwMode="auto">
          <a:xfrm>
            <a:off x="541488" y="3643493"/>
            <a:ext cx="423591" cy="398377"/>
          </a:xfrm>
          <a:prstGeom prst="rect">
            <a:avLst/>
          </a:prstGeom>
          <a:noFill/>
          <a:extLst>
            <a:ext uri="{909E8E84-426E-40DD-AFC4-6F175D3DCCD1}">
              <a14:hiddenFill xmlns:a14="http://schemas.microsoft.com/office/drawing/2010/main">
                <a:solidFill>
                  <a:srgbClr val="FFFFFF"/>
                </a:solidFill>
              </a14:hiddenFill>
            </a:ext>
          </a:extLst>
        </p:spPr>
      </p:pic>
      <p:sp>
        <p:nvSpPr>
          <p:cNvPr id="16" name="object 11"/>
          <p:cNvSpPr txBox="1"/>
          <p:nvPr/>
        </p:nvSpPr>
        <p:spPr>
          <a:xfrm>
            <a:off x="1028200" y="4030795"/>
            <a:ext cx="9985042" cy="912680"/>
          </a:xfrm>
          <a:prstGeom prst="rect">
            <a:avLst/>
          </a:prstGeom>
          <a:solidFill>
            <a:schemeClr val="bg1">
              <a:lumMod val="95000"/>
            </a:schemeClr>
          </a:solidFill>
        </p:spPr>
        <p:txBody>
          <a:bodyPr vert="horz" wrap="square" lIns="91440" tIns="91440" rIns="91440" bIns="144000" rtlCol="0">
            <a:noAutofit/>
          </a:bodyPr>
          <a:lstStyle/>
          <a:p>
            <a:pPr marL="12700">
              <a:lnSpc>
                <a:spcPct val="100000"/>
              </a:lnSpc>
              <a:spcBef>
                <a:spcPts val="300"/>
              </a:spcBef>
              <a:buClr>
                <a:schemeClr val="tx2"/>
              </a:buClr>
            </a:pPr>
            <a:r>
              <a:rPr lang="fr-FR" sz="1400" spc="-10" dirty="0">
                <a:cs typeface="Arial"/>
              </a:rPr>
              <a:t>L’objectif principal de l’activité pilotage des fixations est d’assurer une officialisation des pièces (portée/porteuse) en même temps que leurs fixations afin d’éviter tout retard</a:t>
            </a:r>
          </a:p>
          <a:p>
            <a:pPr marL="12700">
              <a:spcBef>
                <a:spcPts val="300"/>
              </a:spcBef>
              <a:buClr>
                <a:schemeClr val="tx2"/>
              </a:buClr>
            </a:pPr>
            <a:endParaRPr lang="fr-FR" sz="800" dirty="0"/>
          </a:p>
          <a:p>
            <a:pPr marL="184150" indent="-171450">
              <a:spcBef>
                <a:spcPts val="300"/>
              </a:spcBef>
              <a:buClr>
                <a:schemeClr val="tx2"/>
              </a:buClr>
              <a:buFont typeface="Arial" panose="020B0604020202020204" pitchFamily="34" charset="0"/>
              <a:buChar char="•"/>
            </a:pPr>
            <a:endParaRPr lang="fr-FR" sz="1000" dirty="0"/>
          </a:p>
          <a:p>
            <a:pPr marL="184150" indent="-171450">
              <a:lnSpc>
                <a:spcPct val="100000"/>
              </a:lnSpc>
              <a:spcBef>
                <a:spcPts val="300"/>
              </a:spcBef>
              <a:buClr>
                <a:schemeClr val="tx2"/>
              </a:buClr>
              <a:buFont typeface="Arial" panose="020B0604020202020204" pitchFamily="34" charset="0"/>
              <a:buChar char="•"/>
            </a:pPr>
            <a:endParaRPr lang="fr-FR" sz="1200" spc="-10" dirty="0">
              <a:cs typeface="Arial"/>
            </a:endParaRPr>
          </a:p>
          <a:p>
            <a:pPr marL="12700">
              <a:lnSpc>
                <a:spcPct val="100000"/>
              </a:lnSpc>
              <a:spcBef>
                <a:spcPts val="300"/>
              </a:spcBef>
              <a:buClr>
                <a:schemeClr val="tx2"/>
              </a:buClr>
            </a:pPr>
            <a:endParaRPr lang="fr-FR" sz="1200" spc="-10" dirty="0">
              <a:cs typeface="Arial"/>
            </a:endParaRPr>
          </a:p>
        </p:txBody>
      </p:sp>
    </p:spTree>
    <p:extLst>
      <p:ext uri="{BB962C8B-B14F-4D97-AF65-F5344CB8AC3E}">
        <p14:creationId xmlns:p14="http://schemas.microsoft.com/office/powerpoint/2010/main" val="1227772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90DF70BF-D7AF-41C4-AE4B-028A9CB072DA}"/>
              </a:ext>
            </a:extLst>
          </p:cNvPr>
          <p:cNvGrpSpPr/>
          <p:nvPr/>
        </p:nvGrpSpPr>
        <p:grpSpPr>
          <a:xfrm>
            <a:off x="2015432" y="829439"/>
            <a:ext cx="8361857" cy="4938021"/>
            <a:chOff x="579931" y="1710386"/>
            <a:chExt cx="8361857" cy="4938021"/>
          </a:xfrm>
        </p:grpSpPr>
        <p:sp>
          <p:nvSpPr>
            <p:cNvPr id="10" name="Forme 38">
              <a:extLst>
                <a:ext uri="{FF2B5EF4-FFF2-40B4-BE49-F238E27FC236}">
                  <a16:creationId xmlns:a16="http://schemas.microsoft.com/office/drawing/2014/main" id="{3A60FBA5-76AB-43A2-B2BA-4E7514C01AF9}"/>
                </a:ext>
              </a:extLst>
            </p:cNvPr>
            <p:cNvSpPr/>
            <p:nvPr/>
          </p:nvSpPr>
          <p:spPr>
            <a:xfrm>
              <a:off x="579931" y="1710386"/>
              <a:ext cx="8361857" cy="4938021"/>
            </a:xfrm>
            <a:prstGeom prst="swooshArrow">
              <a:avLst>
                <a:gd name="adj1" fmla="val 25000"/>
                <a:gd name="adj2" fmla="val 25000"/>
              </a:avLst>
            </a:prstGeom>
            <a:solidFill>
              <a:srgbClr val="020088"/>
            </a:solidFill>
            <a:ln>
              <a:solidFill>
                <a:schemeClr val="bg1">
                  <a:lumMod val="50000"/>
                </a:schemeClr>
              </a:solidFill>
            </a:ln>
          </p:spPr>
          <p:style>
            <a:lnRef idx="2">
              <a:schemeClr val="accent3">
                <a:shade val="50000"/>
              </a:schemeClr>
            </a:lnRef>
            <a:fillRef idx="1">
              <a:schemeClr val="accent3"/>
            </a:fillRef>
            <a:effectRef idx="0">
              <a:schemeClr val="accent3"/>
            </a:effectRef>
            <a:fontRef idx="minor">
              <a:schemeClr val="lt1"/>
            </a:fontRef>
          </p:style>
        </p:sp>
        <p:sp>
          <p:nvSpPr>
            <p:cNvPr id="11" name="Ellipse 39">
              <a:extLst>
                <a:ext uri="{FF2B5EF4-FFF2-40B4-BE49-F238E27FC236}">
                  <a16:creationId xmlns:a16="http://schemas.microsoft.com/office/drawing/2014/main" id="{8143CCC1-FB0B-4DCC-BA27-B77F2BEF19AD}"/>
                </a:ext>
              </a:extLst>
            </p:cNvPr>
            <p:cNvSpPr/>
            <p:nvPr/>
          </p:nvSpPr>
          <p:spPr>
            <a:xfrm>
              <a:off x="1619672" y="5157192"/>
              <a:ext cx="244187" cy="260620"/>
            </a:xfrm>
            <a:prstGeom prst="ellipse">
              <a:avLst/>
            </a:prstGeom>
            <a:solidFill>
              <a:schemeClr val="bg1"/>
            </a:solidFill>
          </p:spPr>
          <p:style>
            <a:lnRef idx="2">
              <a:schemeClr val="accent4">
                <a:shade val="50000"/>
              </a:schemeClr>
            </a:lnRef>
            <a:fillRef idx="1">
              <a:schemeClr val="accent4"/>
            </a:fillRef>
            <a:effectRef idx="0">
              <a:schemeClr val="accent4"/>
            </a:effectRef>
            <a:fontRef idx="minor">
              <a:schemeClr val="lt1"/>
            </a:fontRef>
          </p:style>
        </p:sp>
        <p:sp>
          <p:nvSpPr>
            <p:cNvPr id="12" name="Ellipse 40">
              <a:extLst>
                <a:ext uri="{FF2B5EF4-FFF2-40B4-BE49-F238E27FC236}">
                  <a16:creationId xmlns:a16="http://schemas.microsoft.com/office/drawing/2014/main" id="{6D7D878F-D184-4172-B19F-DE141C52574C}"/>
                </a:ext>
              </a:extLst>
            </p:cNvPr>
            <p:cNvSpPr/>
            <p:nvPr/>
          </p:nvSpPr>
          <p:spPr>
            <a:xfrm>
              <a:off x="3227556" y="3981178"/>
              <a:ext cx="383926" cy="383926"/>
            </a:xfrm>
            <a:prstGeom prst="ellipse">
              <a:avLst/>
            </a:prstGeom>
            <a:solidFill>
              <a:schemeClr val="bg1"/>
            </a:solidFill>
          </p:spPr>
          <p:style>
            <a:lnRef idx="2">
              <a:schemeClr val="accent4">
                <a:shade val="50000"/>
              </a:schemeClr>
            </a:lnRef>
            <a:fillRef idx="1">
              <a:schemeClr val="accent4"/>
            </a:fillRef>
            <a:effectRef idx="0">
              <a:schemeClr val="accent4"/>
            </a:effectRef>
            <a:fontRef idx="minor">
              <a:schemeClr val="lt1"/>
            </a:fontRef>
          </p:style>
        </p:sp>
        <p:sp>
          <p:nvSpPr>
            <p:cNvPr id="13" name="Ellipse 42">
              <a:extLst>
                <a:ext uri="{FF2B5EF4-FFF2-40B4-BE49-F238E27FC236}">
                  <a16:creationId xmlns:a16="http://schemas.microsoft.com/office/drawing/2014/main" id="{F11B1B5B-FAE4-43A4-B37C-F7D7D0731094}"/>
                </a:ext>
              </a:extLst>
            </p:cNvPr>
            <p:cNvSpPr/>
            <p:nvPr/>
          </p:nvSpPr>
          <p:spPr>
            <a:xfrm>
              <a:off x="5551357" y="3042055"/>
              <a:ext cx="530961" cy="530961"/>
            </a:xfrm>
            <a:prstGeom prst="ellipse">
              <a:avLst/>
            </a:prstGeom>
            <a:solidFill>
              <a:schemeClr val="bg1"/>
            </a:solidFill>
          </p:spPr>
          <p:style>
            <a:lnRef idx="2">
              <a:schemeClr val="accent4">
                <a:shade val="50000"/>
              </a:schemeClr>
            </a:lnRef>
            <a:fillRef idx="1">
              <a:schemeClr val="accent4"/>
            </a:fillRef>
            <a:effectRef idx="0">
              <a:schemeClr val="accent4"/>
            </a:effectRef>
            <a:fontRef idx="minor">
              <a:schemeClr val="lt1"/>
            </a:fontRef>
          </p:style>
        </p:sp>
      </p:grpSp>
      <p:sp>
        <p:nvSpPr>
          <p:cNvPr id="14" name="ZoneTexte 2">
            <a:extLst>
              <a:ext uri="{FF2B5EF4-FFF2-40B4-BE49-F238E27FC236}">
                <a16:creationId xmlns:a16="http://schemas.microsoft.com/office/drawing/2014/main" id="{8CACB3F0-D0DC-4B65-B9B2-9AC703652E21}"/>
              </a:ext>
            </a:extLst>
          </p:cNvPr>
          <p:cNvSpPr txBox="1"/>
          <p:nvPr/>
        </p:nvSpPr>
        <p:spPr>
          <a:xfrm>
            <a:off x="3055173" y="2692069"/>
            <a:ext cx="1281766" cy="461665"/>
          </a:xfrm>
          <a:prstGeom prst="rect">
            <a:avLst/>
          </a:prstGeom>
          <a:noFill/>
        </p:spPr>
        <p:txBody>
          <a:bodyPr wrap="square" rtlCol="0">
            <a:spAutoFit/>
          </a:bodyPr>
          <a:lstStyle/>
          <a:p>
            <a:r>
              <a:rPr lang="fr-FR" sz="2400" b="1" dirty="0">
                <a:latin typeface="Times New Roman" panose="02020603050405020304" pitchFamily="18" charset="0"/>
                <a:cs typeface="Times New Roman" panose="02020603050405020304" pitchFamily="18" charset="0"/>
              </a:rPr>
              <a:t>Qualité</a:t>
            </a:r>
          </a:p>
        </p:txBody>
      </p:sp>
      <p:sp>
        <p:nvSpPr>
          <p:cNvPr id="15" name="ZoneTexte 3">
            <a:extLst>
              <a:ext uri="{FF2B5EF4-FFF2-40B4-BE49-F238E27FC236}">
                <a16:creationId xmlns:a16="http://schemas.microsoft.com/office/drawing/2014/main" id="{C6266E86-A387-4233-AA51-9DE3F11D3CB0}"/>
              </a:ext>
            </a:extLst>
          </p:cNvPr>
          <p:cNvSpPr txBox="1"/>
          <p:nvPr/>
        </p:nvSpPr>
        <p:spPr>
          <a:xfrm>
            <a:off x="1031987" y="3944890"/>
            <a:ext cx="1966889" cy="461665"/>
          </a:xfrm>
          <a:prstGeom prst="rect">
            <a:avLst/>
          </a:prstGeom>
          <a:noFill/>
        </p:spPr>
        <p:txBody>
          <a:bodyPr wrap="square" rtlCol="0">
            <a:spAutoFit/>
          </a:bodyPr>
          <a:lstStyle/>
          <a:p>
            <a:r>
              <a:rPr lang="fr-FR" sz="2400" b="1" dirty="0">
                <a:latin typeface="Times New Roman" panose="02020603050405020304" pitchFamily="18" charset="0"/>
                <a:cs typeface="Times New Roman" panose="02020603050405020304" pitchFamily="18" charset="0"/>
              </a:rPr>
              <a:t>Performance</a:t>
            </a:r>
          </a:p>
        </p:txBody>
      </p:sp>
      <p:sp>
        <p:nvSpPr>
          <p:cNvPr id="16" name="ZoneTexte 4">
            <a:extLst>
              <a:ext uri="{FF2B5EF4-FFF2-40B4-BE49-F238E27FC236}">
                <a16:creationId xmlns:a16="http://schemas.microsoft.com/office/drawing/2014/main" id="{BC537D3F-2D5B-49A8-A4F1-6C7A38724F82}"/>
              </a:ext>
            </a:extLst>
          </p:cNvPr>
          <p:cNvSpPr txBox="1"/>
          <p:nvPr/>
        </p:nvSpPr>
        <p:spPr>
          <a:xfrm>
            <a:off x="5659082" y="1046626"/>
            <a:ext cx="2488014" cy="830997"/>
          </a:xfrm>
          <a:prstGeom prst="rect">
            <a:avLst/>
          </a:prstGeom>
          <a:noFill/>
        </p:spPr>
        <p:txBody>
          <a:bodyPr wrap="square" rtlCol="0">
            <a:spAutoFit/>
          </a:bodyPr>
          <a:lstStyle/>
          <a:p>
            <a:r>
              <a:rPr lang="fr-FR" sz="2400" b="1" dirty="0">
                <a:latin typeface="Times New Roman" panose="02020603050405020304" pitchFamily="18" charset="0"/>
                <a:cs typeface="Times New Roman" panose="02020603050405020304" pitchFamily="18" charset="0"/>
              </a:rPr>
              <a:t>Système de production</a:t>
            </a:r>
          </a:p>
        </p:txBody>
      </p:sp>
      <p:sp>
        <p:nvSpPr>
          <p:cNvPr id="17" name="ZoneTexte 5">
            <a:extLst>
              <a:ext uri="{FF2B5EF4-FFF2-40B4-BE49-F238E27FC236}">
                <a16:creationId xmlns:a16="http://schemas.microsoft.com/office/drawing/2014/main" id="{7EA72749-FB71-4A85-8489-1826C36263A6}"/>
              </a:ext>
            </a:extLst>
          </p:cNvPr>
          <p:cNvSpPr txBox="1"/>
          <p:nvPr/>
        </p:nvSpPr>
        <p:spPr>
          <a:xfrm rot="20929681">
            <a:off x="8179476" y="1703534"/>
            <a:ext cx="2165433" cy="461665"/>
          </a:xfrm>
          <a:prstGeom prst="rect">
            <a:avLst/>
          </a:prstGeom>
          <a:noFill/>
        </p:spPr>
        <p:txBody>
          <a:bodyPr wrap="square" rtlCol="0">
            <a:spAutoFit/>
          </a:bodyPr>
          <a:lstStyle/>
          <a:p>
            <a:r>
              <a:rPr lang="fr-FR" sz="2400" b="1" dirty="0">
                <a:solidFill>
                  <a:schemeClr val="bg1"/>
                </a:solidFill>
                <a:latin typeface="Times New Roman" panose="02020603050405020304" pitchFamily="18" charset="0"/>
                <a:cs typeface="Times New Roman" panose="02020603050405020304" pitchFamily="18" charset="0"/>
              </a:rPr>
              <a:t>Productivité</a:t>
            </a:r>
          </a:p>
        </p:txBody>
      </p:sp>
      <p:pic>
        <p:nvPicPr>
          <p:cNvPr id="18" name="Picture 4" descr="http://upload.wikimedia.org/wikipedia/en/6/6e/Renault_Nissan_Logo.PNG">
            <a:extLst>
              <a:ext uri="{FF2B5EF4-FFF2-40B4-BE49-F238E27FC236}">
                <a16:creationId xmlns:a16="http://schemas.microsoft.com/office/drawing/2014/main" id="{869830A3-3378-44F3-9181-CA9A261582D3}"/>
              </a:ext>
            </a:extLst>
          </p:cNvPr>
          <p:cNvPicPr>
            <a:picLocks noChangeAspect="1" noChangeArrowheads="1"/>
          </p:cNvPicPr>
          <p:nvPr/>
        </p:nvPicPr>
        <p:blipFill>
          <a:blip r:embed="rId3" cstate="print"/>
          <a:srcRect/>
          <a:stretch>
            <a:fillRect/>
          </a:stretch>
        </p:blipFill>
        <p:spPr bwMode="auto">
          <a:xfrm>
            <a:off x="6446704" y="3996573"/>
            <a:ext cx="3083993" cy="1187562"/>
          </a:xfrm>
          <a:prstGeom prst="rect">
            <a:avLst/>
          </a:prstGeom>
          <a:noFill/>
        </p:spPr>
      </p:pic>
      <p:sp>
        <p:nvSpPr>
          <p:cNvPr id="40" name="Teardrop 38">
            <a:extLst>
              <a:ext uri="{FF2B5EF4-FFF2-40B4-BE49-F238E27FC236}">
                <a16:creationId xmlns:a16="http://schemas.microsoft.com/office/drawing/2014/main" id="{C988C923-5447-4D79-A60E-52E25FBD8693}"/>
              </a:ext>
            </a:extLst>
          </p:cNvPr>
          <p:cNvSpPr/>
          <p:nvPr/>
        </p:nvSpPr>
        <p:spPr>
          <a:xfrm rot="8100000">
            <a:off x="11430001" y="6096701"/>
            <a:ext cx="504000" cy="504000"/>
          </a:xfrm>
          <a:prstGeom prst="teardrop">
            <a:avLst>
              <a:gd name="adj" fmla="val 98912"/>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dirty="0"/>
          </a:p>
        </p:txBody>
      </p:sp>
      <p:sp>
        <p:nvSpPr>
          <p:cNvPr id="41" name="Espace réservé du numéro de diapositive 4">
            <a:extLst>
              <a:ext uri="{FF2B5EF4-FFF2-40B4-BE49-F238E27FC236}">
                <a16:creationId xmlns:a16="http://schemas.microsoft.com/office/drawing/2014/main" id="{9C370B56-90C0-4AE6-A26E-628ACD0B6D5D}"/>
              </a:ext>
            </a:extLst>
          </p:cNvPr>
          <p:cNvSpPr>
            <a:spLocks noGrp="1"/>
          </p:cNvSpPr>
          <p:nvPr>
            <p:ph type="sldNum" sz="quarter" idx="12"/>
          </p:nvPr>
        </p:nvSpPr>
        <p:spPr>
          <a:xfrm>
            <a:off x="11354953" y="6082259"/>
            <a:ext cx="474215" cy="538944"/>
          </a:xfrm>
        </p:spPr>
        <p:txBody>
          <a:bodyPr/>
          <a:lstStyle/>
          <a:p>
            <a:r>
              <a:rPr lang="fr-FR" sz="1800" dirty="0">
                <a:solidFill>
                  <a:schemeClr val="bg1"/>
                </a:solidFill>
                <a:latin typeface="Lato" panose="020F0502020204030203"/>
              </a:rPr>
              <a:t>1</a:t>
            </a:r>
            <a:endParaRPr lang="fr-FR" sz="1400" dirty="0">
              <a:solidFill>
                <a:schemeClr val="bg1"/>
              </a:solidFill>
              <a:latin typeface="Lato" panose="020F0502020204030203"/>
            </a:endParaRPr>
          </a:p>
        </p:txBody>
      </p:sp>
    </p:spTree>
    <p:extLst>
      <p:ext uri="{BB962C8B-B14F-4D97-AF65-F5344CB8AC3E}">
        <p14:creationId xmlns:p14="http://schemas.microsoft.com/office/powerpoint/2010/main" val="1799732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5">
                                            <p:txEl>
                                              <p:pRg st="0" end="0"/>
                                            </p:txEl>
                                          </p:spTgt>
                                        </p:tgtEl>
                                        <p:attrNameLst>
                                          <p:attrName>style.visibility</p:attrName>
                                        </p:attrNameLst>
                                      </p:cBhvr>
                                      <p:to>
                                        <p:strVal val="visible"/>
                                      </p:to>
                                    </p:set>
                                    <p:animEffect transition="in" filter="fade">
                                      <p:cBhvr>
                                        <p:cTn id="16" dur="500"/>
                                        <p:tgtEl>
                                          <p:spTgt spid="15">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4">
                                            <p:txEl>
                                              <p:pRg st="0" end="0"/>
                                            </p:txEl>
                                          </p:spTgt>
                                        </p:tgtEl>
                                        <p:attrNameLst>
                                          <p:attrName>style.visibility</p:attrName>
                                        </p:attrNameLst>
                                      </p:cBhvr>
                                      <p:to>
                                        <p:strVal val="visible"/>
                                      </p:to>
                                    </p:set>
                                    <p:animEffect transition="in" filter="fade">
                                      <p:cBhvr>
                                        <p:cTn id="21" dur="500"/>
                                        <p:tgtEl>
                                          <p:spTgt spid="14">
                                            <p:txEl>
                                              <p:pRg st="0" end="0"/>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6">
                                            <p:txEl>
                                              <p:pRg st="0" end="0"/>
                                            </p:txEl>
                                          </p:spTgt>
                                        </p:tgtEl>
                                        <p:attrNameLst>
                                          <p:attrName>style.visibility</p:attrName>
                                        </p:attrNameLst>
                                      </p:cBhvr>
                                      <p:to>
                                        <p:strVal val="visible"/>
                                      </p:to>
                                    </p:set>
                                    <p:animEffect transition="in" filter="fade">
                                      <p:cBhvr>
                                        <p:cTn id="26" dur="500"/>
                                        <p:tgtEl>
                                          <p:spTgt spid="16">
                                            <p:txEl>
                                              <p:pRg st="0" end="0"/>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p:cNvGrpSpPr/>
          <p:nvPr/>
        </p:nvGrpSpPr>
        <p:grpSpPr>
          <a:xfrm>
            <a:off x="-493699" y="5556"/>
            <a:ext cx="4261177" cy="779467"/>
            <a:chOff x="3864574" y="11313"/>
            <a:chExt cx="4261177" cy="779467"/>
          </a:xfrm>
        </p:grpSpPr>
        <p:sp>
          <p:nvSpPr>
            <p:cNvPr id="5" name="ZoneTexte 4"/>
            <p:cNvSpPr txBox="1"/>
            <p:nvPr/>
          </p:nvSpPr>
          <p:spPr>
            <a:xfrm>
              <a:off x="3864574" y="11313"/>
              <a:ext cx="4261177" cy="707886"/>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fr-FR" sz="4000" b="1" dirty="0">
                  <a:solidFill>
                    <a:prstClr val="black"/>
                  </a:solidFill>
                  <a:latin typeface="Lato  "/>
                  <a:ea typeface="Calibri" panose="020F0502020204030204" pitchFamily="34" charset="0"/>
                  <a:cs typeface="Arial" panose="020B0604020202020204" pitchFamily="34" charset="0"/>
                </a:rPr>
                <a:t>Plan</a:t>
              </a:r>
              <a:endParaRPr lang="fr-FR" sz="4000" b="1" dirty="0">
                <a:solidFill>
                  <a:prstClr val="black"/>
                </a:solidFill>
                <a:latin typeface="Lato  "/>
              </a:endParaRPr>
            </a:p>
          </p:txBody>
        </p:sp>
        <p:cxnSp>
          <p:nvCxnSpPr>
            <p:cNvPr id="6" name="Connecteur droit 5"/>
            <p:cNvCxnSpPr/>
            <p:nvPr/>
          </p:nvCxnSpPr>
          <p:spPr>
            <a:xfrm>
              <a:off x="4586299" y="719199"/>
              <a:ext cx="288000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Organigramme : Connecteur 6"/>
            <p:cNvSpPr/>
            <p:nvPr/>
          </p:nvSpPr>
          <p:spPr>
            <a:xfrm>
              <a:off x="5924963" y="650102"/>
              <a:ext cx="140400" cy="140678"/>
            </a:xfrm>
            <a:prstGeom prst="flowChartConnector">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dirty="0">
                <a:solidFill>
                  <a:schemeClr val="tx1"/>
                </a:solidFill>
              </a:endParaRPr>
            </a:p>
          </p:txBody>
        </p:sp>
      </p:grpSp>
      <p:sp>
        <p:nvSpPr>
          <p:cNvPr id="29" name="ZoneTexte 28"/>
          <p:cNvSpPr txBox="1"/>
          <p:nvPr/>
        </p:nvSpPr>
        <p:spPr>
          <a:xfrm>
            <a:off x="4954975" y="386901"/>
            <a:ext cx="5860528" cy="424732"/>
          </a:xfrm>
          <a:prstGeom prst="rect">
            <a:avLst/>
          </a:prstGeom>
          <a:noFill/>
        </p:spPr>
        <p:txBody>
          <a:bodyPr wrap="square" rtlCol="0">
            <a:spAutoFit/>
          </a:bodyPr>
          <a:lstStyle/>
          <a:p>
            <a:pPr lvl="0">
              <a:lnSpc>
                <a:spcPct val="90000"/>
              </a:lnSpc>
              <a:spcBef>
                <a:spcPct val="0"/>
              </a:spcBef>
              <a:spcAft>
                <a:spcPct val="35000"/>
              </a:spcAft>
            </a:pPr>
            <a:r>
              <a:rPr lang="fr-FR" sz="2400" b="1" dirty="0">
                <a:latin typeface="Lato  "/>
              </a:rPr>
              <a:t>Environnement du projet</a:t>
            </a:r>
          </a:p>
        </p:txBody>
      </p:sp>
      <p:grpSp>
        <p:nvGrpSpPr>
          <p:cNvPr id="38" name="Groupe 37"/>
          <p:cNvGrpSpPr/>
          <p:nvPr/>
        </p:nvGrpSpPr>
        <p:grpSpPr>
          <a:xfrm>
            <a:off x="4448080" y="1950600"/>
            <a:ext cx="648001" cy="1248412"/>
            <a:chOff x="4522524" y="1882391"/>
            <a:chExt cx="648001" cy="1356392"/>
          </a:xfrm>
        </p:grpSpPr>
        <p:grpSp>
          <p:nvGrpSpPr>
            <p:cNvPr id="39" name="Groupe 38"/>
            <p:cNvGrpSpPr/>
            <p:nvPr/>
          </p:nvGrpSpPr>
          <p:grpSpPr>
            <a:xfrm>
              <a:off x="4522524" y="1882391"/>
              <a:ext cx="648001" cy="504549"/>
              <a:chOff x="2384965" y="1823015"/>
              <a:chExt cx="648001" cy="504549"/>
            </a:xfrm>
          </p:grpSpPr>
          <p:cxnSp>
            <p:nvCxnSpPr>
              <p:cNvPr id="41" name="Connecteur droit 40"/>
              <p:cNvCxnSpPr/>
              <p:nvPr/>
            </p:nvCxnSpPr>
            <p:spPr>
              <a:xfrm>
                <a:off x="2384965" y="1823015"/>
                <a:ext cx="0" cy="50400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Connecteur droit 41"/>
              <p:cNvCxnSpPr/>
              <p:nvPr/>
            </p:nvCxnSpPr>
            <p:spPr>
              <a:xfrm>
                <a:off x="2384966" y="2327564"/>
                <a:ext cx="648000"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40" name="Connecteur droit 39"/>
            <p:cNvCxnSpPr/>
            <p:nvPr/>
          </p:nvCxnSpPr>
          <p:spPr>
            <a:xfrm>
              <a:off x="5170525" y="1978783"/>
              <a:ext cx="0" cy="126000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3" name="ZoneTexte 42"/>
          <p:cNvSpPr txBox="1"/>
          <p:nvPr/>
        </p:nvSpPr>
        <p:spPr>
          <a:xfrm>
            <a:off x="4954975" y="1365825"/>
            <a:ext cx="7642243" cy="461665"/>
          </a:xfrm>
          <a:prstGeom prst="rect">
            <a:avLst/>
          </a:prstGeom>
          <a:noFill/>
        </p:spPr>
        <p:txBody>
          <a:bodyPr wrap="square" rtlCol="0">
            <a:spAutoFit/>
          </a:bodyPr>
          <a:lstStyle/>
          <a:p>
            <a:r>
              <a:rPr lang="fr-FR" sz="2400" b="1" dirty="0">
                <a:latin typeface="Lato  "/>
              </a:rPr>
              <a:t>Contexte Général du projet</a:t>
            </a:r>
          </a:p>
        </p:txBody>
      </p:sp>
      <p:sp>
        <p:nvSpPr>
          <p:cNvPr id="45" name="ZoneTexte 44"/>
          <p:cNvSpPr txBox="1"/>
          <p:nvPr/>
        </p:nvSpPr>
        <p:spPr>
          <a:xfrm>
            <a:off x="4954977" y="3406659"/>
            <a:ext cx="6205952" cy="461665"/>
          </a:xfrm>
          <a:prstGeom prst="rect">
            <a:avLst/>
          </a:prstGeom>
          <a:noFill/>
        </p:spPr>
        <p:txBody>
          <a:bodyPr wrap="square" rtlCol="0">
            <a:spAutoFit/>
          </a:bodyPr>
          <a:lstStyle>
            <a:defPPr>
              <a:defRPr lang="fr-FR"/>
            </a:defPPr>
            <a:lvl1pPr>
              <a:defRPr sz="3600" b="1">
                <a:latin typeface="Lato Light" panose="020F0302020204030203"/>
              </a:defRPr>
            </a:lvl1pPr>
          </a:lstStyle>
          <a:p>
            <a:r>
              <a:rPr lang="fr-FR" sz="2400" dirty="0">
                <a:latin typeface="Lato  "/>
              </a:rPr>
              <a:t>Mise en œuvre du projet  </a:t>
            </a:r>
          </a:p>
        </p:txBody>
      </p:sp>
      <p:cxnSp>
        <p:nvCxnSpPr>
          <p:cNvPr id="49" name="Connecteur droit 48"/>
          <p:cNvCxnSpPr/>
          <p:nvPr/>
        </p:nvCxnSpPr>
        <p:spPr>
          <a:xfrm>
            <a:off x="3371145" y="-42711"/>
            <a:ext cx="0" cy="691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6" name="Groupe 55"/>
          <p:cNvGrpSpPr/>
          <p:nvPr/>
        </p:nvGrpSpPr>
        <p:grpSpPr>
          <a:xfrm>
            <a:off x="4148624" y="3308229"/>
            <a:ext cx="612000" cy="612000"/>
            <a:chOff x="7624683" y="316633"/>
            <a:chExt cx="612000" cy="612000"/>
          </a:xfrm>
          <a:solidFill>
            <a:srgbClr val="020088"/>
          </a:solidFill>
        </p:grpSpPr>
        <p:sp>
          <p:nvSpPr>
            <p:cNvPr id="57" name="Teardrop 38"/>
            <p:cNvSpPr/>
            <p:nvPr/>
          </p:nvSpPr>
          <p:spPr>
            <a:xfrm rot="8100000">
              <a:off x="7624683" y="316633"/>
              <a:ext cx="612000" cy="612000"/>
            </a:xfrm>
            <a:prstGeom prst="teardrop">
              <a:avLst>
                <a:gd name="adj" fmla="val 98912"/>
              </a:avLst>
            </a:prstGeom>
            <a:solidFill>
              <a:srgbClr val="0200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sz="2000"/>
            </a:p>
          </p:txBody>
        </p:sp>
        <p:sp>
          <p:nvSpPr>
            <p:cNvPr id="58" name="Rectangle 57"/>
            <p:cNvSpPr/>
            <p:nvPr/>
          </p:nvSpPr>
          <p:spPr>
            <a:xfrm>
              <a:off x="7752589" y="409645"/>
              <a:ext cx="356188" cy="461665"/>
            </a:xfrm>
            <a:prstGeom prst="rect">
              <a:avLst/>
            </a:prstGeom>
            <a:solidFill>
              <a:srgbClr val="020088"/>
            </a:solidFill>
          </p:spPr>
          <p:txBody>
            <a:bodyPr wrap="none">
              <a:spAutoFit/>
            </a:bodyPr>
            <a:lstStyle>
              <a:defPPr>
                <a:defRPr lang="en-US"/>
              </a:defPPr>
              <a:lvl1pPr marL="0" algn="l" defTabSz="914340" rtl="0" eaLnBrk="1" latinLnBrk="0" hangingPunct="1">
                <a:defRPr sz="1800" kern="1200">
                  <a:solidFill>
                    <a:schemeClr val="tx1"/>
                  </a:solidFill>
                  <a:latin typeface="+mn-lt"/>
                  <a:ea typeface="+mn-ea"/>
                  <a:cs typeface="+mn-cs"/>
                </a:defRPr>
              </a:lvl1pPr>
              <a:lvl2pPr marL="457170"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1" algn="l" defTabSz="914340" rtl="0" eaLnBrk="1" latinLnBrk="0" hangingPunct="1">
                <a:defRPr sz="1800" kern="1200">
                  <a:solidFill>
                    <a:schemeClr val="tx1"/>
                  </a:solidFill>
                  <a:latin typeface="+mn-lt"/>
                  <a:ea typeface="+mn-ea"/>
                  <a:cs typeface="+mn-cs"/>
                </a:defRPr>
              </a:lvl7pPr>
              <a:lvl8pPr marL="3200193"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a:lstStyle>
            <a:p>
              <a:pPr algn="ctr"/>
              <a:r>
                <a:rPr lang="en-AU" sz="2400" dirty="0">
                  <a:solidFill>
                    <a:schemeClr val="bg1"/>
                  </a:solidFill>
                  <a:latin typeface="Lato"/>
                </a:rPr>
                <a:t>3</a:t>
              </a:r>
            </a:p>
          </p:txBody>
        </p:sp>
      </p:grpSp>
      <p:grpSp>
        <p:nvGrpSpPr>
          <p:cNvPr id="59" name="Groupe 58"/>
          <p:cNvGrpSpPr/>
          <p:nvPr/>
        </p:nvGrpSpPr>
        <p:grpSpPr>
          <a:xfrm>
            <a:off x="4148622" y="270152"/>
            <a:ext cx="612000" cy="612000"/>
            <a:chOff x="7624683" y="316633"/>
            <a:chExt cx="612000" cy="612000"/>
          </a:xfrm>
          <a:solidFill>
            <a:srgbClr val="020088"/>
          </a:solidFill>
        </p:grpSpPr>
        <p:sp>
          <p:nvSpPr>
            <p:cNvPr id="60" name="Teardrop 38"/>
            <p:cNvSpPr/>
            <p:nvPr/>
          </p:nvSpPr>
          <p:spPr>
            <a:xfrm rot="8100000">
              <a:off x="7624683" y="316633"/>
              <a:ext cx="612000" cy="612000"/>
            </a:xfrm>
            <a:prstGeom prst="teardrop">
              <a:avLst>
                <a:gd name="adj" fmla="val 98912"/>
              </a:avLst>
            </a:prstGeom>
            <a:solidFill>
              <a:srgbClr val="0200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sz="2000"/>
            </a:p>
          </p:txBody>
        </p:sp>
        <p:sp>
          <p:nvSpPr>
            <p:cNvPr id="61" name="Rectangle 60"/>
            <p:cNvSpPr/>
            <p:nvPr/>
          </p:nvSpPr>
          <p:spPr>
            <a:xfrm>
              <a:off x="7752589" y="409645"/>
              <a:ext cx="356188" cy="461665"/>
            </a:xfrm>
            <a:prstGeom prst="rect">
              <a:avLst/>
            </a:prstGeom>
            <a:solidFill>
              <a:srgbClr val="020088"/>
            </a:solidFill>
          </p:spPr>
          <p:txBody>
            <a:bodyPr wrap="none">
              <a:spAutoFit/>
            </a:bodyPr>
            <a:lstStyle>
              <a:defPPr>
                <a:defRPr lang="en-US"/>
              </a:defPPr>
              <a:lvl1pPr marL="0" algn="l" defTabSz="914340" rtl="0" eaLnBrk="1" latinLnBrk="0" hangingPunct="1">
                <a:defRPr sz="1800" kern="1200">
                  <a:solidFill>
                    <a:schemeClr val="tx1"/>
                  </a:solidFill>
                  <a:latin typeface="+mn-lt"/>
                  <a:ea typeface="+mn-ea"/>
                  <a:cs typeface="+mn-cs"/>
                </a:defRPr>
              </a:lvl1pPr>
              <a:lvl2pPr marL="457170"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1" algn="l" defTabSz="914340" rtl="0" eaLnBrk="1" latinLnBrk="0" hangingPunct="1">
                <a:defRPr sz="1800" kern="1200">
                  <a:solidFill>
                    <a:schemeClr val="tx1"/>
                  </a:solidFill>
                  <a:latin typeface="+mn-lt"/>
                  <a:ea typeface="+mn-ea"/>
                  <a:cs typeface="+mn-cs"/>
                </a:defRPr>
              </a:lvl7pPr>
              <a:lvl8pPr marL="3200193"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a:lstStyle>
            <a:p>
              <a:pPr algn="ctr"/>
              <a:r>
                <a:rPr lang="en-AU" sz="2400" dirty="0">
                  <a:solidFill>
                    <a:schemeClr val="bg1"/>
                  </a:solidFill>
                  <a:latin typeface="Lato"/>
                </a:rPr>
                <a:t>1</a:t>
              </a:r>
            </a:p>
          </p:txBody>
        </p:sp>
      </p:grpSp>
      <p:grpSp>
        <p:nvGrpSpPr>
          <p:cNvPr id="62" name="Groupe 61"/>
          <p:cNvGrpSpPr/>
          <p:nvPr/>
        </p:nvGrpSpPr>
        <p:grpSpPr>
          <a:xfrm>
            <a:off x="4148624" y="1296137"/>
            <a:ext cx="612000" cy="612000"/>
            <a:chOff x="7624683" y="316633"/>
            <a:chExt cx="612000" cy="612000"/>
          </a:xfrm>
          <a:solidFill>
            <a:srgbClr val="020088"/>
          </a:solidFill>
        </p:grpSpPr>
        <p:sp>
          <p:nvSpPr>
            <p:cNvPr id="63" name="Teardrop 38"/>
            <p:cNvSpPr/>
            <p:nvPr/>
          </p:nvSpPr>
          <p:spPr>
            <a:xfrm rot="8100000">
              <a:off x="7624683" y="316633"/>
              <a:ext cx="612000" cy="612000"/>
            </a:xfrm>
            <a:prstGeom prst="teardrop">
              <a:avLst>
                <a:gd name="adj" fmla="val 98912"/>
              </a:avLst>
            </a:prstGeom>
            <a:solidFill>
              <a:srgbClr val="0200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sz="2000"/>
            </a:p>
          </p:txBody>
        </p:sp>
        <p:sp>
          <p:nvSpPr>
            <p:cNvPr id="64" name="Rectangle 63"/>
            <p:cNvSpPr/>
            <p:nvPr/>
          </p:nvSpPr>
          <p:spPr>
            <a:xfrm>
              <a:off x="7752589" y="409645"/>
              <a:ext cx="356188" cy="461665"/>
            </a:xfrm>
            <a:prstGeom prst="rect">
              <a:avLst/>
            </a:prstGeom>
            <a:solidFill>
              <a:srgbClr val="020088"/>
            </a:solidFill>
          </p:spPr>
          <p:txBody>
            <a:bodyPr wrap="none">
              <a:spAutoFit/>
            </a:bodyPr>
            <a:lstStyle>
              <a:defPPr>
                <a:defRPr lang="en-US"/>
              </a:defPPr>
              <a:lvl1pPr marL="0" algn="l" defTabSz="914340" rtl="0" eaLnBrk="1" latinLnBrk="0" hangingPunct="1">
                <a:defRPr sz="1800" kern="1200">
                  <a:solidFill>
                    <a:schemeClr val="tx1"/>
                  </a:solidFill>
                  <a:latin typeface="+mn-lt"/>
                  <a:ea typeface="+mn-ea"/>
                  <a:cs typeface="+mn-cs"/>
                </a:defRPr>
              </a:lvl1pPr>
              <a:lvl2pPr marL="457170"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1" algn="l" defTabSz="914340" rtl="0" eaLnBrk="1" latinLnBrk="0" hangingPunct="1">
                <a:defRPr sz="1800" kern="1200">
                  <a:solidFill>
                    <a:schemeClr val="tx1"/>
                  </a:solidFill>
                  <a:latin typeface="+mn-lt"/>
                  <a:ea typeface="+mn-ea"/>
                  <a:cs typeface="+mn-cs"/>
                </a:defRPr>
              </a:lvl7pPr>
              <a:lvl8pPr marL="3200193"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a:lstStyle>
            <a:p>
              <a:pPr algn="ctr"/>
              <a:r>
                <a:rPr lang="en-AU" sz="2400" dirty="0">
                  <a:solidFill>
                    <a:schemeClr val="bg1"/>
                  </a:solidFill>
                  <a:latin typeface="Lato"/>
                </a:rPr>
                <a:t>2</a:t>
              </a:r>
            </a:p>
          </p:txBody>
        </p:sp>
      </p:grpSp>
      <p:sp>
        <p:nvSpPr>
          <p:cNvPr id="36" name="ZoneTexte 44">
            <a:extLst>
              <a:ext uri="{FF2B5EF4-FFF2-40B4-BE49-F238E27FC236}">
                <a16:creationId xmlns:a16="http://schemas.microsoft.com/office/drawing/2014/main" id="{49B1C790-74D2-4A44-9369-0DC96844D44F}"/>
              </a:ext>
            </a:extLst>
          </p:cNvPr>
          <p:cNvSpPr txBox="1"/>
          <p:nvPr/>
        </p:nvSpPr>
        <p:spPr>
          <a:xfrm>
            <a:off x="5061793" y="5857769"/>
            <a:ext cx="6205952" cy="461665"/>
          </a:xfrm>
          <a:prstGeom prst="rect">
            <a:avLst/>
          </a:prstGeom>
          <a:noFill/>
        </p:spPr>
        <p:txBody>
          <a:bodyPr wrap="square" rtlCol="0">
            <a:spAutoFit/>
          </a:bodyPr>
          <a:lstStyle>
            <a:defPPr>
              <a:defRPr lang="fr-FR"/>
            </a:defPPr>
            <a:lvl1pPr>
              <a:defRPr sz="3600" b="1">
                <a:latin typeface="Lato Light" panose="020F0302020204030203"/>
              </a:defRPr>
            </a:lvl1pPr>
          </a:lstStyle>
          <a:p>
            <a:r>
              <a:rPr lang="it-IT" sz="2400" dirty="0">
                <a:latin typeface="Lato  "/>
              </a:rPr>
              <a:t>Conclusion et perspectives</a:t>
            </a:r>
            <a:endParaRPr lang="fr-FR" sz="2400" dirty="0">
              <a:latin typeface="Lato  "/>
            </a:endParaRPr>
          </a:p>
        </p:txBody>
      </p:sp>
      <p:grpSp>
        <p:nvGrpSpPr>
          <p:cNvPr id="47" name="Groupe 55">
            <a:extLst>
              <a:ext uri="{FF2B5EF4-FFF2-40B4-BE49-F238E27FC236}">
                <a16:creationId xmlns:a16="http://schemas.microsoft.com/office/drawing/2014/main" id="{AA39047F-C6E5-44F8-BB1F-8240CCF56783}"/>
              </a:ext>
            </a:extLst>
          </p:cNvPr>
          <p:cNvGrpSpPr/>
          <p:nvPr/>
        </p:nvGrpSpPr>
        <p:grpSpPr>
          <a:xfrm>
            <a:off x="4242651" y="5745712"/>
            <a:ext cx="612000" cy="612000"/>
            <a:chOff x="7624683" y="316633"/>
            <a:chExt cx="612000" cy="612000"/>
          </a:xfrm>
          <a:solidFill>
            <a:srgbClr val="020088"/>
          </a:solidFill>
        </p:grpSpPr>
        <p:sp>
          <p:nvSpPr>
            <p:cNvPr id="48" name="Teardrop 38">
              <a:extLst>
                <a:ext uri="{FF2B5EF4-FFF2-40B4-BE49-F238E27FC236}">
                  <a16:creationId xmlns:a16="http://schemas.microsoft.com/office/drawing/2014/main" id="{97319C47-00D7-4083-ACF8-594A39908464}"/>
                </a:ext>
              </a:extLst>
            </p:cNvPr>
            <p:cNvSpPr/>
            <p:nvPr/>
          </p:nvSpPr>
          <p:spPr>
            <a:xfrm rot="8100000">
              <a:off x="7624683" y="316633"/>
              <a:ext cx="612000" cy="612000"/>
            </a:xfrm>
            <a:prstGeom prst="teardrop">
              <a:avLst>
                <a:gd name="adj" fmla="val 98912"/>
              </a:avLst>
            </a:prstGeom>
            <a:solidFill>
              <a:srgbClr val="0200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sz="2000"/>
            </a:p>
          </p:txBody>
        </p:sp>
        <p:sp>
          <p:nvSpPr>
            <p:cNvPr id="50" name="Rectangle 49">
              <a:extLst>
                <a:ext uri="{FF2B5EF4-FFF2-40B4-BE49-F238E27FC236}">
                  <a16:creationId xmlns:a16="http://schemas.microsoft.com/office/drawing/2014/main" id="{81B7E4F7-9E27-46CA-B9A6-75F9075173D1}"/>
                </a:ext>
              </a:extLst>
            </p:cNvPr>
            <p:cNvSpPr/>
            <p:nvPr/>
          </p:nvSpPr>
          <p:spPr>
            <a:xfrm>
              <a:off x="7749383" y="409645"/>
              <a:ext cx="362600" cy="461665"/>
            </a:xfrm>
            <a:prstGeom prst="rect">
              <a:avLst/>
            </a:prstGeom>
            <a:solidFill>
              <a:srgbClr val="020088"/>
            </a:solidFill>
          </p:spPr>
          <p:txBody>
            <a:bodyPr wrap="none">
              <a:spAutoFit/>
            </a:bodyPr>
            <a:lstStyle>
              <a:defPPr>
                <a:defRPr lang="en-US"/>
              </a:defPPr>
              <a:lvl1pPr marL="0" algn="l" defTabSz="914340" rtl="0" eaLnBrk="1" latinLnBrk="0" hangingPunct="1">
                <a:defRPr sz="1800" kern="1200">
                  <a:solidFill>
                    <a:schemeClr val="tx1"/>
                  </a:solidFill>
                  <a:latin typeface="+mn-lt"/>
                  <a:ea typeface="+mn-ea"/>
                  <a:cs typeface="+mn-cs"/>
                </a:defRPr>
              </a:lvl1pPr>
              <a:lvl2pPr marL="457170"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1" algn="l" defTabSz="914340" rtl="0" eaLnBrk="1" latinLnBrk="0" hangingPunct="1">
                <a:defRPr sz="1800" kern="1200">
                  <a:solidFill>
                    <a:schemeClr val="tx1"/>
                  </a:solidFill>
                  <a:latin typeface="+mn-lt"/>
                  <a:ea typeface="+mn-ea"/>
                  <a:cs typeface="+mn-cs"/>
                </a:defRPr>
              </a:lvl7pPr>
              <a:lvl8pPr marL="3200193"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a:lstStyle>
            <a:p>
              <a:pPr algn="ctr"/>
              <a:r>
                <a:rPr lang="en-AU" sz="2400" dirty="0">
                  <a:solidFill>
                    <a:schemeClr val="bg1"/>
                  </a:solidFill>
                  <a:latin typeface="Lato"/>
                </a:rPr>
                <a:t>4</a:t>
              </a:r>
            </a:p>
          </p:txBody>
        </p:sp>
      </p:grpSp>
      <p:grpSp>
        <p:nvGrpSpPr>
          <p:cNvPr id="83" name="Groupe 37">
            <a:extLst>
              <a:ext uri="{FF2B5EF4-FFF2-40B4-BE49-F238E27FC236}">
                <a16:creationId xmlns:a16="http://schemas.microsoft.com/office/drawing/2014/main" id="{60D3506F-8D10-490E-9020-21BB7D335C10}"/>
              </a:ext>
            </a:extLst>
          </p:cNvPr>
          <p:cNvGrpSpPr/>
          <p:nvPr/>
        </p:nvGrpSpPr>
        <p:grpSpPr>
          <a:xfrm>
            <a:off x="4448080" y="4030303"/>
            <a:ext cx="648001" cy="1658310"/>
            <a:chOff x="4522524" y="1882391"/>
            <a:chExt cx="648001" cy="1356392"/>
          </a:xfrm>
        </p:grpSpPr>
        <p:grpSp>
          <p:nvGrpSpPr>
            <p:cNvPr id="84" name="Groupe 38">
              <a:extLst>
                <a:ext uri="{FF2B5EF4-FFF2-40B4-BE49-F238E27FC236}">
                  <a16:creationId xmlns:a16="http://schemas.microsoft.com/office/drawing/2014/main" id="{16FF646D-A083-4BD1-B1F9-E99484F03DEC}"/>
                </a:ext>
              </a:extLst>
            </p:cNvPr>
            <p:cNvGrpSpPr/>
            <p:nvPr/>
          </p:nvGrpSpPr>
          <p:grpSpPr>
            <a:xfrm>
              <a:off x="4522524" y="1882391"/>
              <a:ext cx="648001" cy="504549"/>
              <a:chOff x="2384965" y="1823015"/>
              <a:chExt cx="648001" cy="504549"/>
            </a:xfrm>
          </p:grpSpPr>
          <p:cxnSp>
            <p:nvCxnSpPr>
              <p:cNvPr id="86" name="Connecteur droit 40">
                <a:extLst>
                  <a:ext uri="{FF2B5EF4-FFF2-40B4-BE49-F238E27FC236}">
                    <a16:creationId xmlns:a16="http://schemas.microsoft.com/office/drawing/2014/main" id="{F31C5734-68CF-4932-89EA-27AE342197A3}"/>
                  </a:ext>
                </a:extLst>
              </p:cNvPr>
              <p:cNvCxnSpPr/>
              <p:nvPr/>
            </p:nvCxnSpPr>
            <p:spPr>
              <a:xfrm>
                <a:off x="2384965" y="1823015"/>
                <a:ext cx="0" cy="50400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Connecteur droit 41">
                <a:extLst>
                  <a:ext uri="{FF2B5EF4-FFF2-40B4-BE49-F238E27FC236}">
                    <a16:creationId xmlns:a16="http://schemas.microsoft.com/office/drawing/2014/main" id="{318A6347-AD70-4819-85B0-A772D03BEE2D}"/>
                  </a:ext>
                </a:extLst>
              </p:cNvPr>
              <p:cNvCxnSpPr/>
              <p:nvPr/>
            </p:nvCxnSpPr>
            <p:spPr>
              <a:xfrm>
                <a:off x="2384966" y="2327564"/>
                <a:ext cx="648000"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85" name="Connecteur droit 39">
              <a:extLst>
                <a:ext uri="{FF2B5EF4-FFF2-40B4-BE49-F238E27FC236}">
                  <a16:creationId xmlns:a16="http://schemas.microsoft.com/office/drawing/2014/main" id="{7F9351E1-2D39-4548-BBBD-32C812CB51FA}"/>
                </a:ext>
              </a:extLst>
            </p:cNvPr>
            <p:cNvCxnSpPr/>
            <p:nvPr/>
          </p:nvCxnSpPr>
          <p:spPr>
            <a:xfrm>
              <a:off x="5170525" y="1978783"/>
              <a:ext cx="0" cy="126000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88" name="ZoneTexte 29">
            <a:extLst>
              <a:ext uri="{FF2B5EF4-FFF2-40B4-BE49-F238E27FC236}">
                <a16:creationId xmlns:a16="http://schemas.microsoft.com/office/drawing/2014/main" id="{60E17357-84F3-43DB-9BA6-CCEF43004EA8}"/>
              </a:ext>
            </a:extLst>
          </p:cNvPr>
          <p:cNvSpPr txBox="1"/>
          <p:nvPr/>
        </p:nvSpPr>
        <p:spPr>
          <a:xfrm>
            <a:off x="5272969" y="2034887"/>
            <a:ext cx="5423545" cy="1521057"/>
          </a:xfrm>
          <a:prstGeom prst="rect">
            <a:avLst/>
          </a:prstGeom>
          <a:noFill/>
        </p:spPr>
        <p:txBody>
          <a:bodyPr wrap="square" rtlCol="0">
            <a:spAutoFit/>
          </a:bodyPr>
          <a:lstStyle/>
          <a:p>
            <a:pPr>
              <a:lnSpc>
                <a:spcPct val="150000"/>
              </a:lnSpc>
            </a:pPr>
            <a:r>
              <a:rPr lang="fr-FR" sz="1600" dirty="0">
                <a:solidFill>
                  <a:schemeClr val="bg2">
                    <a:lumMod val="50000"/>
                  </a:schemeClr>
                </a:solidFill>
                <a:latin typeface="Lato  "/>
              </a:rPr>
              <a:t>Problématique</a:t>
            </a:r>
          </a:p>
          <a:p>
            <a:pPr>
              <a:lnSpc>
                <a:spcPct val="150000"/>
              </a:lnSpc>
            </a:pPr>
            <a:r>
              <a:rPr lang="fr-FR" sz="1600" dirty="0">
                <a:solidFill>
                  <a:schemeClr val="bg2">
                    <a:lumMod val="50000"/>
                  </a:schemeClr>
                </a:solidFill>
                <a:latin typeface="Lato  "/>
              </a:rPr>
              <a:t>Méthodologie de résolution (DMAIC)</a:t>
            </a:r>
          </a:p>
          <a:p>
            <a:pPr>
              <a:lnSpc>
                <a:spcPct val="150000"/>
              </a:lnSpc>
            </a:pPr>
            <a:r>
              <a:rPr lang="fr-FR" sz="1600" dirty="0">
                <a:solidFill>
                  <a:schemeClr val="bg2">
                    <a:lumMod val="50000"/>
                  </a:schemeClr>
                </a:solidFill>
                <a:latin typeface="Lato  "/>
              </a:rPr>
              <a:t>Planification du projet</a:t>
            </a:r>
          </a:p>
          <a:p>
            <a:pPr>
              <a:lnSpc>
                <a:spcPct val="150000"/>
              </a:lnSpc>
            </a:pPr>
            <a:endParaRPr lang="fr-FR" sz="1600" dirty="0">
              <a:solidFill>
                <a:schemeClr val="bg2">
                  <a:lumMod val="50000"/>
                </a:schemeClr>
              </a:solidFill>
              <a:latin typeface="Lato  "/>
            </a:endParaRPr>
          </a:p>
        </p:txBody>
      </p:sp>
      <p:sp>
        <p:nvSpPr>
          <p:cNvPr id="89" name="ZoneTexte 36">
            <a:extLst>
              <a:ext uri="{FF2B5EF4-FFF2-40B4-BE49-F238E27FC236}">
                <a16:creationId xmlns:a16="http://schemas.microsoft.com/office/drawing/2014/main" id="{F7CA0FBC-25BB-44CA-8476-6CA617906D47}"/>
              </a:ext>
            </a:extLst>
          </p:cNvPr>
          <p:cNvSpPr txBox="1"/>
          <p:nvPr/>
        </p:nvSpPr>
        <p:spPr>
          <a:xfrm>
            <a:off x="5325578" y="3911590"/>
            <a:ext cx="5318326" cy="1893339"/>
          </a:xfrm>
          <a:prstGeom prst="rect">
            <a:avLst/>
          </a:prstGeom>
          <a:noFill/>
        </p:spPr>
        <p:txBody>
          <a:bodyPr wrap="square" rtlCol="0">
            <a:spAutoFit/>
          </a:bodyPr>
          <a:lstStyle/>
          <a:p>
            <a:pPr>
              <a:lnSpc>
                <a:spcPct val="150000"/>
              </a:lnSpc>
            </a:pPr>
            <a:r>
              <a:rPr lang="it-IT" sz="1600" dirty="0">
                <a:solidFill>
                  <a:schemeClr val="bg2">
                    <a:lumMod val="50000"/>
                  </a:schemeClr>
                </a:solidFill>
                <a:latin typeface="Lato  "/>
              </a:rPr>
              <a:t>Phase 1 : Définir</a:t>
            </a:r>
          </a:p>
          <a:p>
            <a:pPr>
              <a:lnSpc>
                <a:spcPct val="150000"/>
              </a:lnSpc>
            </a:pPr>
            <a:r>
              <a:rPr lang="it-IT" sz="1600" dirty="0">
                <a:solidFill>
                  <a:schemeClr val="bg2">
                    <a:lumMod val="50000"/>
                  </a:schemeClr>
                </a:solidFill>
                <a:latin typeface="Lato  "/>
              </a:rPr>
              <a:t>Phase 2 : Mesurer</a:t>
            </a:r>
          </a:p>
          <a:p>
            <a:pPr>
              <a:lnSpc>
                <a:spcPct val="150000"/>
              </a:lnSpc>
            </a:pPr>
            <a:r>
              <a:rPr lang="it-IT" sz="1600" dirty="0">
                <a:solidFill>
                  <a:schemeClr val="bg2">
                    <a:lumMod val="50000"/>
                  </a:schemeClr>
                </a:solidFill>
                <a:latin typeface="Lato  "/>
              </a:rPr>
              <a:t>Phase 3 : Analyser </a:t>
            </a:r>
          </a:p>
          <a:p>
            <a:pPr>
              <a:lnSpc>
                <a:spcPct val="150000"/>
              </a:lnSpc>
            </a:pPr>
            <a:r>
              <a:rPr lang="it-IT" sz="1600" dirty="0">
                <a:solidFill>
                  <a:schemeClr val="bg2">
                    <a:lumMod val="50000"/>
                  </a:schemeClr>
                </a:solidFill>
                <a:latin typeface="Lato  "/>
              </a:rPr>
              <a:t>Phase 4 : Améliorer</a:t>
            </a:r>
          </a:p>
          <a:p>
            <a:pPr>
              <a:lnSpc>
                <a:spcPct val="150000"/>
              </a:lnSpc>
            </a:pPr>
            <a:r>
              <a:rPr lang="it-IT" sz="1600" dirty="0">
                <a:solidFill>
                  <a:schemeClr val="bg2">
                    <a:lumMod val="50000"/>
                  </a:schemeClr>
                </a:solidFill>
                <a:latin typeface="Lato  "/>
              </a:rPr>
              <a:t>Phase 5 : </a:t>
            </a:r>
            <a:r>
              <a:rPr lang="fr-FR" sz="1600" dirty="0">
                <a:solidFill>
                  <a:schemeClr val="bg2">
                    <a:lumMod val="50000"/>
                  </a:schemeClr>
                </a:solidFill>
                <a:latin typeface="Lato  "/>
              </a:rPr>
              <a:t>Contrôler</a:t>
            </a:r>
            <a:r>
              <a:rPr lang="it-IT" sz="1600" dirty="0">
                <a:solidFill>
                  <a:schemeClr val="bg2">
                    <a:lumMod val="50000"/>
                  </a:schemeClr>
                </a:solidFill>
                <a:latin typeface="Lato  "/>
              </a:rPr>
              <a:t> </a:t>
            </a:r>
          </a:p>
        </p:txBody>
      </p:sp>
      <p:sp>
        <p:nvSpPr>
          <p:cNvPr id="35" name="Teardrop 38">
            <a:extLst>
              <a:ext uri="{FF2B5EF4-FFF2-40B4-BE49-F238E27FC236}">
                <a16:creationId xmlns:a16="http://schemas.microsoft.com/office/drawing/2014/main" id="{B778FBBF-9DB9-422F-AEDF-1DADEBBBA045}"/>
              </a:ext>
            </a:extLst>
          </p:cNvPr>
          <p:cNvSpPr/>
          <p:nvPr/>
        </p:nvSpPr>
        <p:spPr>
          <a:xfrm rot="8100000">
            <a:off x="11430001" y="6096701"/>
            <a:ext cx="504000" cy="504000"/>
          </a:xfrm>
          <a:prstGeom prst="teardrop">
            <a:avLst>
              <a:gd name="adj" fmla="val 98912"/>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dirty="0"/>
          </a:p>
        </p:txBody>
      </p:sp>
      <p:sp>
        <p:nvSpPr>
          <p:cNvPr id="37" name="Espace réservé du numéro de diapositive 4">
            <a:extLst>
              <a:ext uri="{FF2B5EF4-FFF2-40B4-BE49-F238E27FC236}">
                <a16:creationId xmlns:a16="http://schemas.microsoft.com/office/drawing/2014/main" id="{767E4C3A-5D67-40B8-958C-392469D20662}"/>
              </a:ext>
            </a:extLst>
          </p:cNvPr>
          <p:cNvSpPr>
            <a:spLocks noGrp="1"/>
          </p:cNvSpPr>
          <p:nvPr>
            <p:ph type="sldNum" sz="quarter" idx="12"/>
          </p:nvPr>
        </p:nvSpPr>
        <p:spPr>
          <a:xfrm>
            <a:off x="11354953" y="6082259"/>
            <a:ext cx="474215" cy="538944"/>
          </a:xfrm>
        </p:spPr>
        <p:txBody>
          <a:bodyPr/>
          <a:lstStyle/>
          <a:p>
            <a:r>
              <a:rPr lang="fr-FR" sz="1800" dirty="0">
                <a:solidFill>
                  <a:schemeClr val="bg1"/>
                </a:solidFill>
                <a:latin typeface="Lato" panose="020F0502020204030203"/>
              </a:rPr>
              <a:t>2</a:t>
            </a:r>
            <a:endParaRPr lang="fr-FR" sz="1400" dirty="0">
              <a:solidFill>
                <a:schemeClr val="bg1"/>
              </a:solidFill>
              <a:latin typeface="Lato" panose="020F0502020204030203"/>
            </a:endParaRPr>
          </a:p>
        </p:txBody>
      </p:sp>
    </p:spTree>
    <p:extLst>
      <p:ext uri="{BB962C8B-B14F-4D97-AF65-F5344CB8AC3E}">
        <p14:creationId xmlns:p14="http://schemas.microsoft.com/office/powerpoint/2010/main" val="2799783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400" fill="hold"/>
                                        <p:tgtEl>
                                          <p:spTgt spid="4"/>
                                        </p:tgtEl>
                                        <p:attrNameLst>
                                          <p:attrName>ppt_x</p:attrName>
                                        </p:attrNameLst>
                                      </p:cBhvr>
                                      <p:tavLst>
                                        <p:tav tm="0">
                                          <p:val>
                                            <p:strVal val="0-#ppt_w/2"/>
                                          </p:val>
                                        </p:tav>
                                        <p:tav tm="100000">
                                          <p:val>
                                            <p:strVal val="#ppt_x"/>
                                          </p:val>
                                        </p:tav>
                                      </p:tavLst>
                                    </p:anim>
                                    <p:anim calcmode="lin" valueType="num">
                                      <p:cBhvr additive="base">
                                        <p:cTn id="8" dur="4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400"/>
                            </p:stCondLst>
                            <p:childTnLst>
                              <p:par>
                                <p:cTn id="10" presetID="2" presetClass="entr" presetSubtype="4" fill="hold" nodeType="afterEffect">
                                  <p:stCondLst>
                                    <p:cond delay="0"/>
                                  </p:stCondLst>
                                  <p:childTnLst>
                                    <p:set>
                                      <p:cBhvr>
                                        <p:cTn id="11" dur="1" fill="hold">
                                          <p:stCondLst>
                                            <p:cond delay="0"/>
                                          </p:stCondLst>
                                        </p:cTn>
                                        <p:tgtEl>
                                          <p:spTgt spid="49"/>
                                        </p:tgtEl>
                                        <p:attrNameLst>
                                          <p:attrName>style.visibility</p:attrName>
                                        </p:attrNameLst>
                                      </p:cBhvr>
                                      <p:to>
                                        <p:strVal val="visible"/>
                                      </p:to>
                                    </p:set>
                                    <p:anim calcmode="lin" valueType="num">
                                      <p:cBhvr additive="base">
                                        <p:cTn id="12" dur="400" fill="hold"/>
                                        <p:tgtEl>
                                          <p:spTgt spid="49"/>
                                        </p:tgtEl>
                                        <p:attrNameLst>
                                          <p:attrName>ppt_x</p:attrName>
                                        </p:attrNameLst>
                                      </p:cBhvr>
                                      <p:tavLst>
                                        <p:tav tm="0">
                                          <p:val>
                                            <p:strVal val="#ppt_x"/>
                                          </p:val>
                                        </p:tav>
                                        <p:tav tm="100000">
                                          <p:val>
                                            <p:strVal val="#ppt_x"/>
                                          </p:val>
                                        </p:tav>
                                      </p:tavLst>
                                    </p:anim>
                                    <p:anim calcmode="lin" valueType="num">
                                      <p:cBhvr additive="base">
                                        <p:cTn id="13" dur="4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additive="base">
                                        <p:cTn id="18" dur="400" fill="hold"/>
                                        <p:tgtEl>
                                          <p:spTgt spid="59"/>
                                        </p:tgtEl>
                                        <p:attrNameLst>
                                          <p:attrName>ppt_x</p:attrName>
                                        </p:attrNameLst>
                                      </p:cBhvr>
                                      <p:tavLst>
                                        <p:tav tm="0">
                                          <p:val>
                                            <p:strVal val="#ppt_x"/>
                                          </p:val>
                                        </p:tav>
                                        <p:tav tm="100000">
                                          <p:val>
                                            <p:strVal val="#ppt_x"/>
                                          </p:val>
                                        </p:tav>
                                      </p:tavLst>
                                    </p:anim>
                                    <p:anim calcmode="lin" valueType="num">
                                      <p:cBhvr additive="base">
                                        <p:cTn id="19" dur="400" fill="hold"/>
                                        <p:tgtEl>
                                          <p:spTgt spid="59"/>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 calcmode="lin" valueType="num">
                                      <p:cBhvr additive="base">
                                        <p:cTn id="22" dur="400" fill="hold"/>
                                        <p:tgtEl>
                                          <p:spTgt spid="29"/>
                                        </p:tgtEl>
                                        <p:attrNameLst>
                                          <p:attrName>ppt_x</p:attrName>
                                        </p:attrNameLst>
                                      </p:cBhvr>
                                      <p:tavLst>
                                        <p:tav tm="0">
                                          <p:val>
                                            <p:strVal val="#ppt_x"/>
                                          </p:val>
                                        </p:tav>
                                        <p:tav tm="100000">
                                          <p:val>
                                            <p:strVal val="#ppt_x"/>
                                          </p:val>
                                        </p:tav>
                                      </p:tavLst>
                                    </p:anim>
                                    <p:anim calcmode="lin" valueType="num">
                                      <p:cBhvr additive="base">
                                        <p:cTn id="23" dur="4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4" fill="hold" nodeType="clickEffect">
                                  <p:stCondLst>
                                    <p:cond delay="0"/>
                                  </p:stCondLst>
                                  <p:childTnLst>
                                    <p:set>
                                      <p:cBhvr>
                                        <p:cTn id="27" dur="1" fill="hold">
                                          <p:stCondLst>
                                            <p:cond delay="0"/>
                                          </p:stCondLst>
                                        </p:cTn>
                                        <p:tgtEl>
                                          <p:spTgt spid="62"/>
                                        </p:tgtEl>
                                        <p:attrNameLst>
                                          <p:attrName>style.visibility</p:attrName>
                                        </p:attrNameLst>
                                      </p:cBhvr>
                                      <p:to>
                                        <p:strVal val="visible"/>
                                      </p:to>
                                    </p:set>
                                    <p:anim calcmode="lin" valueType="num">
                                      <p:cBhvr additive="base">
                                        <p:cTn id="28" dur="400" fill="hold"/>
                                        <p:tgtEl>
                                          <p:spTgt spid="62"/>
                                        </p:tgtEl>
                                        <p:attrNameLst>
                                          <p:attrName>ppt_x</p:attrName>
                                        </p:attrNameLst>
                                      </p:cBhvr>
                                      <p:tavLst>
                                        <p:tav tm="0">
                                          <p:val>
                                            <p:strVal val="#ppt_x"/>
                                          </p:val>
                                        </p:tav>
                                        <p:tav tm="100000">
                                          <p:val>
                                            <p:strVal val="#ppt_x"/>
                                          </p:val>
                                        </p:tav>
                                      </p:tavLst>
                                    </p:anim>
                                    <p:anim calcmode="lin" valueType="num">
                                      <p:cBhvr additive="base">
                                        <p:cTn id="29" dur="400" fill="hold"/>
                                        <p:tgtEl>
                                          <p:spTgt spid="62"/>
                                        </p:tgtEl>
                                        <p:attrNameLst>
                                          <p:attrName>ppt_y</p:attrName>
                                        </p:attrNameLst>
                                      </p:cBhvr>
                                      <p:tavLst>
                                        <p:tav tm="0">
                                          <p:val>
                                            <p:strVal val="1+#ppt_h/2"/>
                                          </p:val>
                                        </p:tav>
                                        <p:tav tm="100000">
                                          <p:val>
                                            <p:strVal val="#ppt_y"/>
                                          </p:val>
                                        </p:tav>
                                      </p:tavLst>
                                    </p:anim>
                                  </p:childTnLst>
                                </p:cTn>
                              </p:par>
                              <p:par>
                                <p:cTn id="30" presetID="2" presetClass="entr" presetSubtype="4" fill="hold" grpId="0" nodeType="withEffect">
                                  <p:stCondLst>
                                    <p:cond delay="0"/>
                                  </p:stCondLst>
                                  <p:childTnLst>
                                    <p:set>
                                      <p:cBhvr>
                                        <p:cTn id="31" dur="1" fill="hold">
                                          <p:stCondLst>
                                            <p:cond delay="0"/>
                                          </p:stCondLst>
                                        </p:cTn>
                                        <p:tgtEl>
                                          <p:spTgt spid="43"/>
                                        </p:tgtEl>
                                        <p:attrNameLst>
                                          <p:attrName>style.visibility</p:attrName>
                                        </p:attrNameLst>
                                      </p:cBhvr>
                                      <p:to>
                                        <p:strVal val="visible"/>
                                      </p:to>
                                    </p:set>
                                    <p:anim calcmode="lin" valueType="num">
                                      <p:cBhvr additive="base">
                                        <p:cTn id="32" dur="400" fill="hold"/>
                                        <p:tgtEl>
                                          <p:spTgt spid="43"/>
                                        </p:tgtEl>
                                        <p:attrNameLst>
                                          <p:attrName>ppt_x</p:attrName>
                                        </p:attrNameLst>
                                      </p:cBhvr>
                                      <p:tavLst>
                                        <p:tav tm="0">
                                          <p:val>
                                            <p:strVal val="#ppt_x"/>
                                          </p:val>
                                        </p:tav>
                                        <p:tav tm="100000">
                                          <p:val>
                                            <p:strVal val="#ppt_x"/>
                                          </p:val>
                                        </p:tav>
                                      </p:tavLst>
                                    </p:anim>
                                    <p:anim calcmode="lin" valueType="num">
                                      <p:cBhvr additive="base">
                                        <p:cTn id="33" dur="4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38"/>
                                        </p:tgtEl>
                                        <p:attrNameLst>
                                          <p:attrName>style.visibility</p:attrName>
                                        </p:attrNameLst>
                                      </p:cBhvr>
                                      <p:to>
                                        <p:strVal val="visible"/>
                                      </p:to>
                                    </p:set>
                                    <p:animEffect transition="in" filter="wipe(left)">
                                      <p:cBhvr>
                                        <p:cTn id="38" dur="400"/>
                                        <p:tgtEl>
                                          <p:spTgt spid="38"/>
                                        </p:tgtEl>
                                      </p:cBhvr>
                                    </p:animEffect>
                                  </p:childTnLst>
                                </p:cTn>
                              </p:par>
                            </p:childTnLst>
                          </p:cTn>
                        </p:par>
                        <p:par>
                          <p:cTn id="39" fill="hold">
                            <p:stCondLst>
                              <p:cond delay="400"/>
                            </p:stCondLst>
                            <p:childTnLst>
                              <p:par>
                                <p:cTn id="40" presetID="2" presetClass="entr" presetSubtype="4" fill="hold" grpId="0" nodeType="afterEffect">
                                  <p:stCondLst>
                                    <p:cond delay="0"/>
                                  </p:stCondLst>
                                  <p:childTnLst>
                                    <p:set>
                                      <p:cBhvr>
                                        <p:cTn id="41" dur="1" fill="hold">
                                          <p:stCondLst>
                                            <p:cond delay="0"/>
                                          </p:stCondLst>
                                        </p:cTn>
                                        <p:tgtEl>
                                          <p:spTgt spid="88">
                                            <p:txEl>
                                              <p:pRg st="0" end="0"/>
                                            </p:txEl>
                                          </p:spTgt>
                                        </p:tgtEl>
                                        <p:attrNameLst>
                                          <p:attrName>style.visibility</p:attrName>
                                        </p:attrNameLst>
                                      </p:cBhvr>
                                      <p:to>
                                        <p:strVal val="visible"/>
                                      </p:to>
                                    </p:set>
                                    <p:anim calcmode="lin" valueType="num">
                                      <p:cBhvr additive="base">
                                        <p:cTn id="42" dur="400" fill="hold"/>
                                        <p:tgtEl>
                                          <p:spTgt spid="88">
                                            <p:txEl>
                                              <p:pRg st="0" end="0"/>
                                            </p:txEl>
                                          </p:spTgt>
                                        </p:tgtEl>
                                        <p:attrNameLst>
                                          <p:attrName>ppt_x</p:attrName>
                                        </p:attrNameLst>
                                      </p:cBhvr>
                                      <p:tavLst>
                                        <p:tav tm="0">
                                          <p:val>
                                            <p:strVal val="#ppt_x"/>
                                          </p:val>
                                        </p:tav>
                                        <p:tav tm="100000">
                                          <p:val>
                                            <p:strVal val="#ppt_x"/>
                                          </p:val>
                                        </p:tav>
                                      </p:tavLst>
                                    </p:anim>
                                    <p:anim calcmode="lin" valueType="num">
                                      <p:cBhvr additive="base">
                                        <p:cTn id="43" dur="400" fill="hold"/>
                                        <p:tgtEl>
                                          <p:spTgt spid="88">
                                            <p:txEl>
                                              <p:pRg st="0" end="0"/>
                                            </p:txEl>
                                          </p:spTgt>
                                        </p:tgtEl>
                                        <p:attrNameLst>
                                          <p:attrName>ppt_y</p:attrName>
                                        </p:attrNameLst>
                                      </p:cBhvr>
                                      <p:tavLst>
                                        <p:tav tm="0">
                                          <p:val>
                                            <p:strVal val="1+#ppt_h/2"/>
                                          </p:val>
                                        </p:tav>
                                        <p:tav tm="100000">
                                          <p:val>
                                            <p:strVal val="#ppt_y"/>
                                          </p:val>
                                        </p:tav>
                                      </p:tavLst>
                                    </p:anim>
                                  </p:childTnLst>
                                </p:cTn>
                              </p:par>
                            </p:childTnLst>
                          </p:cTn>
                        </p:par>
                        <p:par>
                          <p:cTn id="44" fill="hold">
                            <p:stCondLst>
                              <p:cond delay="800"/>
                            </p:stCondLst>
                            <p:childTnLst>
                              <p:par>
                                <p:cTn id="45" presetID="2" presetClass="entr" presetSubtype="4" fill="hold" grpId="0" nodeType="afterEffect">
                                  <p:stCondLst>
                                    <p:cond delay="0"/>
                                  </p:stCondLst>
                                  <p:childTnLst>
                                    <p:set>
                                      <p:cBhvr>
                                        <p:cTn id="46" dur="1" fill="hold">
                                          <p:stCondLst>
                                            <p:cond delay="0"/>
                                          </p:stCondLst>
                                        </p:cTn>
                                        <p:tgtEl>
                                          <p:spTgt spid="88">
                                            <p:txEl>
                                              <p:pRg st="1" end="1"/>
                                            </p:txEl>
                                          </p:spTgt>
                                        </p:tgtEl>
                                        <p:attrNameLst>
                                          <p:attrName>style.visibility</p:attrName>
                                        </p:attrNameLst>
                                      </p:cBhvr>
                                      <p:to>
                                        <p:strVal val="visible"/>
                                      </p:to>
                                    </p:set>
                                    <p:anim calcmode="lin" valueType="num">
                                      <p:cBhvr additive="base">
                                        <p:cTn id="47" dur="400" fill="hold"/>
                                        <p:tgtEl>
                                          <p:spTgt spid="88">
                                            <p:txEl>
                                              <p:pRg st="1" end="1"/>
                                            </p:txEl>
                                          </p:spTgt>
                                        </p:tgtEl>
                                        <p:attrNameLst>
                                          <p:attrName>ppt_x</p:attrName>
                                        </p:attrNameLst>
                                      </p:cBhvr>
                                      <p:tavLst>
                                        <p:tav tm="0">
                                          <p:val>
                                            <p:strVal val="#ppt_x"/>
                                          </p:val>
                                        </p:tav>
                                        <p:tav tm="100000">
                                          <p:val>
                                            <p:strVal val="#ppt_x"/>
                                          </p:val>
                                        </p:tav>
                                      </p:tavLst>
                                    </p:anim>
                                    <p:anim calcmode="lin" valueType="num">
                                      <p:cBhvr additive="base">
                                        <p:cTn id="48" dur="400" fill="hold"/>
                                        <p:tgtEl>
                                          <p:spTgt spid="88">
                                            <p:txEl>
                                              <p:pRg st="1" end="1"/>
                                            </p:txEl>
                                          </p:spTgt>
                                        </p:tgtEl>
                                        <p:attrNameLst>
                                          <p:attrName>ppt_y</p:attrName>
                                        </p:attrNameLst>
                                      </p:cBhvr>
                                      <p:tavLst>
                                        <p:tav tm="0">
                                          <p:val>
                                            <p:strVal val="1+#ppt_h/2"/>
                                          </p:val>
                                        </p:tav>
                                        <p:tav tm="100000">
                                          <p:val>
                                            <p:strVal val="#ppt_y"/>
                                          </p:val>
                                        </p:tav>
                                      </p:tavLst>
                                    </p:anim>
                                  </p:childTnLst>
                                </p:cTn>
                              </p:par>
                            </p:childTnLst>
                          </p:cTn>
                        </p:par>
                        <p:par>
                          <p:cTn id="49" fill="hold">
                            <p:stCondLst>
                              <p:cond delay="1200"/>
                            </p:stCondLst>
                            <p:childTnLst>
                              <p:par>
                                <p:cTn id="50" presetID="2" presetClass="entr" presetSubtype="4" fill="hold" grpId="0" nodeType="afterEffect">
                                  <p:stCondLst>
                                    <p:cond delay="0"/>
                                  </p:stCondLst>
                                  <p:childTnLst>
                                    <p:set>
                                      <p:cBhvr>
                                        <p:cTn id="51" dur="1" fill="hold">
                                          <p:stCondLst>
                                            <p:cond delay="0"/>
                                          </p:stCondLst>
                                        </p:cTn>
                                        <p:tgtEl>
                                          <p:spTgt spid="88">
                                            <p:txEl>
                                              <p:pRg st="2" end="2"/>
                                            </p:txEl>
                                          </p:spTgt>
                                        </p:tgtEl>
                                        <p:attrNameLst>
                                          <p:attrName>style.visibility</p:attrName>
                                        </p:attrNameLst>
                                      </p:cBhvr>
                                      <p:to>
                                        <p:strVal val="visible"/>
                                      </p:to>
                                    </p:set>
                                    <p:anim calcmode="lin" valueType="num">
                                      <p:cBhvr additive="base">
                                        <p:cTn id="52" dur="400" fill="hold"/>
                                        <p:tgtEl>
                                          <p:spTgt spid="88">
                                            <p:txEl>
                                              <p:pRg st="2" end="2"/>
                                            </p:txEl>
                                          </p:spTgt>
                                        </p:tgtEl>
                                        <p:attrNameLst>
                                          <p:attrName>ppt_x</p:attrName>
                                        </p:attrNameLst>
                                      </p:cBhvr>
                                      <p:tavLst>
                                        <p:tav tm="0">
                                          <p:val>
                                            <p:strVal val="#ppt_x"/>
                                          </p:val>
                                        </p:tav>
                                        <p:tav tm="100000">
                                          <p:val>
                                            <p:strVal val="#ppt_x"/>
                                          </p:val>
                                        </p:tav>
                                      </p:tavLst>
                                    </p:anim>
                                    <p:anim calcmode="lin" valueType="num">
                                      <p:cBhvr additive="base">
                                        <p:cTn id="53" dur="400" fill="hold"/>
                                        <p:tgtEl>
                                          <p:spTgt spid="8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2" presetClass="entr" presetSubtype="4" fill="hold" nodeType="clickEffect">
                                  <p:stCondLst>
                                    <p:cond delay="0"/>
                                  </p:stCondLst>
                                  <p:childTnLst>
                                    <p:set>
                                      <p:cBhvr>
                                        <p:cTn id="57" dur="1" fill="hold">
                                          <p:stCondLst>
                                            <p:cond delay="0"/>
                                          </p:stCondLst>
                                        </p:cTn>
                                        <p:tgtEl>
                                          <p:spTgt spid="56"/>
                                        </p:tgtEl>
                                        <p:attrNameLst>
                                          <p:attrName>style.visibility</p:attrName>
                                        </p:attrNameLst>
                                      </p:cBhvr>
                                      <p:to>
                                        <p:strVal val="visible"/>
                                      </p:to>
                                    </p:set>
                                    <p:anim calcmode="lin" valueType="num">
                                      <p:cBhvr additive="base">
                                        <p:cTn id="58" dur="400" fill="hold"/>
                                        <p:tgtEl>
                                          <p:spTgt spid="56"/>
                                        </p:tgtEl>
                                        <p:attrNameLst>
                                          <p:attrName>ppt_x</p:attrName>
                                        </p:attrNameLst>
                                      </p:cBhvr>
                                      <p:tavLst>
                                        <p:tav tm="0">
                                          <p:val>
                                            <p:strVal val="#ppt_x"/>
                                          </p:val>
                                        </p:tav>
                                        <p:tav tm="100000">
                                          <p:val>
                                            <p:strVal val="#ppt_x"/>
                                          </p:val>
                                        </p:tav>
                                      </p:tavLst>
                                    </p:anim>
                                    <p:anim calcmode="lin" valueType="num">
                                      <p:cBhvr additive="base">
                                        <p:cTn id="59" dur="400" fill="hold"/>
                                        <p:tgtEl>
                                          <p:spTgt spid="56"/>
                                        </p:tgtEl>
                                        <p:attrNameLst>
                                          <p:attrName>ppt_y</p:attrName>
                                        </p:attrNameLst>
                                      </p:cBhvr>
                                      <p:tavLst>
                                        <p:tav tm="0">
                                          <p:val>
                                            <p:strVal val="1+#ppt_h/2"/>
                                          </p:val>
                                        </p:tav>
                                        <p:tav tm="100000">
                                          <p:val>
                                            <p:strVal val="#ppt_y"/>
                                          </p:val>
                                        </p:tav>
                                      </p:tavLst>
                                    </p:anim>
                                  </p:childTnLst>
                                </p:cTn>
                              </p:par>
                              <p:par>
                                <p:cTn id="60" presetID="2" presetClass="entr" presetSubtype="4" fill="hold" grpId="0" nodeType="withEffect">
                                  <p:stCondLst>
                                    <p:cond delay="0"/>
                                  </p:stCondLst>
                                  <p:childTnLst>
                                    <p:set>
                                      <p:cBhvr>
                                        <p:cTn id="61" dur="1" fill="hold">
                                          <p:stCondLst>
                                            <p:cond delay="0"/>
                                          </p:stCondLst>
                                        </p:cTn>
                                        <p:tgtEl>
                                          <p:spTgt spid="45"/>
                                        </p:tgtEl>
                                        <p:attrNameLst>
                                          <p:attrName>style.visibility</p:attrName>
                                        </p:attrNameLst>
                                      </p:cBhvr>
                                      <p:to>
                                        <p:strVal val="visible"/>
                                      </p:to>
                                    </p:set>
                                    <p:anim calcmode="lin" valueType="num">
                                      <p:cBhvr additive="base">
                                        <p:cTn id="62" dur="400" fill="hold"/>
                                        <p:tgtEl>
                                          <p:spTgt spid="45"/>
                                        </p:tgtEl>
                                        <p:attrNameLst>
                                          <p:attrName>ppt_x</p:attrName>
                                        </p:attrNameLst>
                                      </p:cBhvr>
                                      <p:tavLst>
                                        <p:tav tm="0">
                                          <p:val>
                                            <p:strVal val="#ppt_x"/>
                                          </p:val>
                                        </p:tav>
                                        <p:tav tm="100000">
                                          <p:val>
                                            <p:strVal val="#ppt_x"/>
                                          </p:val>
                                        </p:tav>
                                      </p:tavLst>
                                    </p:anim>
                                    <p:anim calcmode="lin" valueType="num">
                                      <p:cBhvr additive="base">
                                        <p:cTn id="63" dur="40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83"/>
                                        </p:tgtEl>
                                        <p:attrNameLst>
                                          <p:attrName>style.visibility</p:attrName>
                                        </p:attrNameLst>
                                      </p:cBhvr>
                                      <p:to>
                                        <p:strVal val="visible"/>
                                      </p:to>
                                    </p:set>
                                    <p:animEffect transition="in" filter="wipe(left)">
                                      <p:cBhvr>
                                        <p:cTn id="68" dur="400"/>
                                        <p:tgtEl>
                                          <p:spTgt spid="83"/>
                                        </p:tgtEl>
                                      </p:cBhvr>
                                    </p:animEffect>
                                  </p:childTnLst>
                                </p:cTn>
                              </p:par>
                            </p:childTnLst>
                          </p:cTn>
                        </p:par>
                        <p:par>
                          <p:cTn id="69" fill="hold">
                            <p:stCondLst>
                              <p:cond delay="400"/>
                            </p:stCondLst>
                            <p:childTnLst>
                              <p:par>
                                <p:cTn id="70" presetID="2" presetClass="entr" presetSubtype="4" fill="hold" grpId="0" nodeType="afterEffect">
                                  <p:stCondLst>
                                    <p:cond delay="0"/>
                                  </p:stCondLst>
                                  <p:childTnLst>
                                    <p:set>
                                      <p:cBhvr>
                                        <p:cTn id="71" dur="1" fill="hold">
                                          <p:stCondLst>
                                            <p:cond delay="0"/>
                                          </p:stCondLst>
                                        </p:cTn>
                                        <p:tgtEl>
                                          <p:spTgt spid="89">
                                            <p:txEl>
                                              <p:pRg st="0" end="0"/>
                                            </p:txEl>
                                          </p:spTgt>
                                        </p:tgtEl>
                                        <p:attrNameLst>
                                          <p:attrName>style.visibility</p:attrName>
                                        </p:attrNameLst>
                                      </p:cBhvr>
                                      <p:to>
                                        <p:strVal val="visible"/>
                                      </p:to>
                                    </p:set>
                                    <p:anim calcmode="lin" valueType="num">
                                      <p:cBhvr additive="base">
                                        <p:cTn id="72" dur="400" fill="hold"/>
                                        <p:tgtEl>
                                          <p:spTgt spid="89">
                                            <p:txEl>
                                              <p:pRg st="0" end="0"/>
                                            </p:txEl>
                                          </p:spTgt>
                                        </p:tgtEl>
                                        <p:attrNameLst>
                                          <p:attrName>ppt_x</p:attrName>
                                        </p:attrNameLst>
                                      </p:cBhvr>
                                      <p:tavLst>
                                        <p:tav tm="0">
                                          <p:val>
                                            <p:strVal val="#ppt_x"/>
                                          </p:val>
                                        </p:tav>
                                        <p:tav tm="100000">
                                          <p:val>
                                            <p:strVal val="#ppt_x"/>
                                          </p:val>
                                        </p:tav>
                                      </p:tavLst>
                                    </p:anim>
                                    <p:anim calcmode="lin" valueType="num">
                                      <p:cBhvr additive="base">
                                        <p:cTn id="73" dur="400" fill="hold"/>
                                        <p:tgtEl>
                                          <p:spTgt spid="89">
                                            <p:txEl>
                                              <p:pRg st="0" end="0"/>
                                            </p:txEl>
                                          </p:spTgt>
                                        </p:tgtEl>
                                        <p:attrNameLst>
                                          <p:attrName>ppt_y</p:attrName>
                                        </p:attrNameLst>
                                      </p:cBhvr>
                                      <p:tavLst>
                                        <p:tav tm="0">
                                          <p:val>
                                            <p:strVal val="1+#ppt_h/2"/>
                                          </p:val>
                                        </p:tav>
                                        <p:tav tm="100000">
                                          <p:val>
                                            <p:strVal val="#ppt_y"/>
                                          </p:val>
                                        </p:tav>
                                      </p:tavLst>
                                    </p:anim>
                                  </p:childTnLst>
                                </p:cTn>
                              </p:par>
                            </p:childTnLst>
                          </p:cTn>
                        </p:par>
                        <p:par>
                          <p:cTn id="74" fill="hold">
                            <p:stCondLst>
                              <p:cond delay="800"/>
                            </p:stCondLst>
                            <p:childTnLst>
                              <p:par>
                                <p:cTn id="75" presetID="2" presetClass="entr" presetSubtype="4" fill="hold" grpId="0" nodeType="afterEffect">
                                  <p:stCondLst>
                                    <p:cond delay="0"/>
                                  </p:stCondLst>
                                  <p:childTnLst>
                                    <p:set>
                                      <p:cBhvr>
                                        <p:cTn id="76" dur="1" fill="hold">
                                          <p:stCondLst>
                                            <p:cond delay="0"/>
                                          </p:stCondLst>
                                        </p:cTn>
                                        <p:tgtEl>
                                          <p:spTgt spid="89">
                                            <p:txEl>
                                              <p:pRg st="1" end="1"/>
                                            </p:txEl>
                                          </p:spTgt>
                                        </p:tgtEl>
                                        <p:attrNameLst>
                                          <p:attrName>style.visibility</p:attrName>
                                        </p:attrNameLst>
                                      </p:cBhvr>
                                      <p:to>
                                        <p:strVal val="visible"/>
                                      </p:to>
                                    </p:set>
                                    <p:anim calcmode="lin" valueType="num">
                                      <p:cBhvr additive="base">
                                        <p:cTn id="77" dur="400" fill="hold"/>
                                        <p:tgtEl>
                                          <p:spTgt spid="89">
                                            <p:txEl>
                                              <p:pRg st="1" end="1"/>
                                            </p:txEl>
                                          </p:spTgt>
                                        </p:tgtEl>
                                        <p:attrNameLst>
                                          <p:attrName>ppt_x</p:attrName>
                                        </p:attrNameLst>
                                      </p:cBhvr>
                                      <p:tavLst>
                                        <p:tav tm="0">
                                          <p:val>
                                            <p:strVal val="#ppt_x"/>
                                          </p:val>
                                        </p:tav>
                                        <p:tav tm="100000">
                                          <p:val>
                                            <p:strVal val="#ppt_x"/>
                                          </p:val>
                                        </p:tav>
                                      </p:tavLst>
                                    </p:anim>
                                    <p:anim calcmode="lin" valueType="num">
                                      <p:cBhvr additive="base">
                                        <p:cTn id="78" dur="400" fill="hold"/>
                                        <p:tgtEl>
                                          <p:spTgt spid="89">
                                            <p:txEl>
                                              <p:pRg st="1" end="1"/>
                                            </p:txEl>
                                          </p:spTgt>
                                        </p:tgtEl>
                                        <p:attrNameLst>
                                          <p:attrName>ppt_y</p:attrName>
                                        </p:attrNameLst>
                                      </p:cBhvr>
                                      <p:tavLst>
                                        <p:tav tm="0">
                                          <p:val>
                                            <p:strVal val="1+#ppt_h/2"/>
                                          </p:val>
                                        </p:tav>
                                        <p:tav tm="100000">
                                          <p:val>
                                            <p:strVal val="#ppt_y"/>
                                          </p:val>
                                        </p:tav>
                                      </p:tavLst>
                                    </p:anim>
                                  </p:childTnLst>
                                </p:cTn>
                              </p:par>
                            </p:childTnLst>
                          </p:cTn>
                        </p:par>
                        <p:par>
                          <p:cTn id="79" fill="hold">
                            <p:stCondLst>
                              <p:cond delay="1200"/>
                            </p:stCondLst>
                            <p:childTnLst>
                              <p:par>
                                <p:cTn id="80" presetID="2" presetClass="entr" presetSubtype="4" fill="hold" grpId="0" nodeType="afterEffect">
                                  <p:stCondLst>
                                    <p:cond delay="0"/>
                                  </p:stCondLst>
                                  <p:childTnLst>
                                    <p:set>
                                      <p:cBhvr>
                                        <p:cTn id="81" dur="1" fill="hold">
                                          <p:stCondLst>
                                            <p:cond delay="0"/>
                                          </p:stCondLst>
                                        </p:cTn>
                                        <p:tgtEl>
                                          <p:spTgt spid="89">
                                            <p:txEl>
                                              <p:pRg st="2" end="2"/>
                                            </p:txEl>
                                          </p:spTgt>
                                        </p:tgtEl>
                                        <p:attrNameLst>
                                          <p:attrName>style.visibility</p:attrName>
                                        </p:attrNameLst>
                                      </p:cBhvr>
                                      <p:to>
                                        <p:strVal val="visible"/>
                                      </p:to>
                                    </p:set>
                                    <p:anim calcmode="lin" valueType="num">
                                      <p:cBhvr additive="base">
                                        <p:cTn id="82" dur="400" fill="hold"/>
                                        <p:tgtEl>
                                          <p:spTgt spid="89">
                                            <p:txEl>
                                              <p:pRg st="2" end="2"/>
                                            </p:txEl>
                                          </p:spTgt>
                                        </p:tgtEl>
                                        <p:attrNameLst>
                                          <p:attrName>ppt_x</p:attrName>
                                        </p:attrNameLst>
                                      </p:cBhvr>
                                      <p:tavLst>
                                        <p:tav tm="0">
                                          <p:val>
                                            <p:strVal val="#ppt_x"/>
                                          </p:val>
                                        </p:tav>
                                        <p:tav tm="100000">
                                          <p:val>
                                            <p:strVal val="#ppt_x"/>
                                          </p:val>
                                        </p:tav>
                                      </p:tavLst>
                                    </p:anim>
                                    <p:anim calcmode="lin" valueType="num">
                                      <p:cBhvr additive="base">
                                        <p:cTn id="83" dur="400" fill="hold"/>
                                        <p:tgtEl>
                                          <p:spTgt spid="89">
                                            <p:txEl>
                                              <p:pRg st="2" end="2"/>
                                            </p:txEl>
                                          </p:spTgt>
                                        </p:tgtEl>
                                        <p:attrNameLst>
                                          <p:attrName>ppt_y</p:attrName>
                                        </p:attrNameLst>
                                      </p:cBhvr>
                                      <p:tavLst>
                                        <p:tav tm="0">
                                          <p:val>
                                            <p:strVal val="1+#ppt_h/2"/>
                                          </p:val>
                                        </p:tav>
                                        <p:tav tm="100000">
                                          <p:val>
                                            <p:strVal val="#ppt_y"/>
                                          </p:val>
                                        </p:tav>
                                      </p:tavLst>
                                    </p:anim>
                                  </p:childTnLst>
                                </p:cTn>
                              </p:par>
                            </p:childTnLst>
                          </p:cTn>
                        </p:par>
                        <p:par>
                          <p:cTn id="84" fill="hold">
                            <p:stCondLst>
                              <p:cond delay="1600"/>
                            </p:stCondLst>
                            <p:childTnLst>
                              <p:par>
                                <p:cTn id="85" presetID="2" presetClass="entr" presetSubtype="4" fill="hold" grpId="0" nodeType="afterEffect">
                                  <p:stCondLst>
                                    <p:cond delay="0"/>
                                  </p:stCondLst>
                                  <p:childTnLst>
                                    <p:set>
                                      <p:cBhvr>
                                        <p:cTn id="86" dur="1" fill="hold">
                                          <p:stCondLst>
                                            <p:cond delay="0"/>
                                          </p:stCondLst>
                                        </p:cTn>
                                        <p:tgtEl>
                                          <p:spTgt spid="89">
                                            <p:txEl>
                                              <p:pRg st="3" end="3"/>
                                            </p:txEl>
                                          </p:spTgt>
                                        </p:tgtEl>
                                        <p:attrNameLst>
                                          <p:attrName>style.visibility</p:attrName>
                                        </p:attrNameLst>
                                      </p:cBhvr>
                                      <p:to>
                                        <p:strVal val="visible"/>
                                      </p:to>
                                    </p:set>
                                    <p:anim calcmode="lin" valueType="num">
                                      <p:cBhvr additive="base">
                                        <p:cTn id="87" dur="400" fill="hold"/>
                                        <p:tgtEl>
                                          <p:spTgt spid="89">
                                            <p:txEl>
                                              <p:pRg st="3" end="3"/>
                                            </p:txEl>
                                          </p:spTgt>
                                        </p:tgtEl>
                                        <p:attrNameLst>
                                          <p:attrName>ppt_x</p:attrName>
                                        </p:attrNameLst>
                                      </p:cBhvr>
                                      <p:tavLst>
                                        <p:tav tm="0">
                                          <p:val>
                                            <p:strVal val="#ppt_x"/>
                                          </p:val>
                                        </p:tav>
                                        <p:tav tm="100000">
                                          <p:val>
                                            <p:strVal val="#ppt_x"/>
                                          </p:val>
                                        </p:tav>
                                      </p:tavLst>
                                    </p:anim>
                                    <p:anim calcmode="lin" valueType="num">
                                      <p:cBhvr additive="base">
                                        <p:cTn id="88" dur="400" fill="hold"/>
                                        <p:tgtEl>
                                          <p:spTgt spid="89">
                                            <p:txEl>
                                              <p:pRg st="3" end="3"/>
                                            </p:txEl>
                                          </p:spTgt>
                                        </p:tgtEl>
                                        <p:attrNameLst>
                                          <p:attrName>ppt_y</p:attrName>
                                        </p:attrNameLst>
                                      </p:cBhvr>
                                      <p:tavLst>
                                        <p:tav tm="0">
                                          <p:val>
                                            <p:strVal val="1+#ppt_h/2"/>
                                          </p:val>
                                        </p:tav>
                                        <p:tav tm="100000">
                                          <p:val>
                                            <p:strVal val="#ppt_y"/>
                                          </p:val>
                                        </p:tav>
                                      </p:tavLst>
                                    </p:anim>
                                  </p:childTnLst>
                                </p:cTn>
                              </p:par>
                            </p:childTnLst>
                          </p:cTn>
                        </p:par>
                        <p:par>
                          <p:cTn id="89" fill="hold">
                            <p:stCondLst>
                              <p:cond delay="2000"/>
                            </p:stCondLst>
                            <p:childTnLst>
                              <p:par>
                                <p:cTn id="90" presetID="2" presetClass="entr" presetSubtype="4" fill="hold" grpId="0" nodeType="afterEffect">
                                  <p:stCondLst>
                                    <p:cond delay="0"/>
                                  </p:stCondLst>
                                  <p:childTnLst>
                                    <p:set>
                                      <p:cBhvr>
                                        <p:cTn id="91" dur="1" fill="hold">
                                          <p:stCondLst>
                                            <p:cond delay="0"/>
                                          </p:stCondLst>
                                        </p:cTn>
                                        <p:tgtEl>
                                          <p:spTgt spid="89">
                                            <p:txEl>
                                              <p:pRg st="4" end="4"/>
                                            </p:txEl>
                                          </p:spTgt>
                                        </p:tgtEl>
                                        <p:attrNameLst>
                                          <p:attrName>style.visibility</p:attrName>
                                        </p:attrNameLst>
                                      </p:cBhvr>
                                      <p:to>
                                        <p:strVal val="visible"/>
                                      </p:to>
                                    </p:set>
                                    <p:anim calcmode="lin" valueType="num">
                                      <p:cBhvr additive="base">
                                        <p:cTn id="92" dur="400" fill="hold"/>
                                        <p:tgtEl>
                                          <p:spTgt spid="89">
                                            <p:txEl>
                                              <p:pRg st="4" end="4"/>
                                            </p:txEl>
                                          </p:spTgt>
                                        </p:tgtEl>
                                        <p:attrNameLst>
                                          <p:attrName>ppt_x</p:attrName>
                                        </p:attrNameLst>
                                      </p:cBhvr>
                                      <p:tavLst>
                                        <p:tav tm="0">
                                          <p:val>
                                            <p:strVal val="#ppt_x"/>
                                          </p:val>
                                        </p:tav>
                                        <p:tav tm="100000">
                                          <p:val>
                                            <p:strVal val="#ppt_x"/>
                                          </p:val>
                                        </p:tav>
                                      </p:tavLst>
                                    </p:anim>
                                    <p:anim calcmode="lin" valueType="num">
                                      <p:cBhvr additive="base">
                                        <p:cTn id="93" dur="400" fill="hold"/>
                                        <p:tgtEl>
                                          <p:spTgt spid="89">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2" presetClass="entr" presetSubtype="4" fill="hold" nodeType="clickEffect">
                                  <p:stCondLst>
                                    <p:cond delay="0"/>
                                  </p:stCondLst>
                                  <p:childTnLst>
                                    <p:set>
                                      <p:cBhvr>
                                        <p:cTn id="97" dur="1" fill="hold">
                                          <p:stCondLst>
                                            <p:cond delay="0"/>
                                          </p:stCondLst>
                                        </p:cTn>
                                        <p:tgtEl>
                                          <p:spTgt spid="47"/>
                                        </p:tgtEl>
                                        <p:attrNameLst>
                                          <p:attrName>style.visibility</p:attrName>
                                        </p:attrNameLst>
                                      </p:cBhvr>
                                      <p:to>
                                        <p:strVal val="visible"/>
                                      </p:to>
                                    </p:set>
                                    <p:anim calcmode="lin" valueType="num">
                                      <p:cBhvr additive="base">
                                        <p:cTn id="98" dur="400" fill="hold"/>
                                        <p:tgtEl>
                                          <p:spTgt spid="47"/>
                                        </p:tgtEl>
                                        <p:attrNameLst>
                                          <p:attrName>ppt_x</p:attrName>
                                        </p:attrNameLst>
                                      </p:cBhvr>
                                      <p:tavLst>
                                        <p:tav tm="0">
                                          <p:val>
                                            <p:strVal val="#ppt_x"/>
                                          </p:val>
                                        </p:tav>
                                        <p:tav tm="100000">
                                          <p:val>
                                            <p:strVal val="#ppt_x"/>
                                          </p:val>
                                        </p:tav>
                                      </p:tavLst>
                                    </p:anim>
                                    <p:anim calcmode="lin" valueType="num">
                                      <p:cBhvr additive="base">
                                        <p:cTn id="99" dur="400" fill="hold"/>
                                        <p:tgtEl>
                                          <p:spTgt spid="47"/>
                                        </p:tgtEl>
                                        <p:attrNameLst>
                                          <p:attrName>ppt_y</p:attrName>
                                        </p:attrNameLst>
                                      </p:cBhvr>
                                      <p:tavLst>
                                        <p:tav tm="0">
                                          <p:val>
                                            <p:strVal val="1+#ppt_h/2"/>
                                          </p:val>
                                        </p:tav>
                                        <p:tav tm="100000">
                                          <p:val>
                                            <p:strVal val="#ppt_y"/>
                                          </p:val>
                                        </p:tav>
                                      </p:tavLst>
                                    </p:anim>
                                  </p:childTnLst>
                                </p:cTn>
                              </p:par>
                              <p:par>
                                <p:cTn id="100" presetID="2" presetClass="entr" presetSubtype="4" fill="hold" grpId="0" nodeType="withEffect">
                                  <p:stCondLst>
                                    <p:cond delay="0"/>
                                  </p:stCondLst>
                                  <p:childTnLst>
                                    <p:set>
                                      <p:cBhvr>
                                        <p:cTn id="101" dur="1" fill="hold">
                                          <p:stCondLst>
                                            <p:cond delay="0"/>
                                          </p:stCondLst>
                                        </p:cTn>
                                        <p:tgtEl>
                                          <p:spTgt spid="36"/>
                                        </p:tgtEl>
                                        <p:attrNameLst>
                                          <p:attrName>style.visibility</p:attrName>
                                        </p:attrNameLst>
                                      </p:cBhvr>
                                      <p:to>
                                        <p:strVal val="visible"/>
                                      </p:to>
                                    </p:set>
                                    <p:anim calcmode="lin" valueType="num">
                                      <p:cBhvr additive="base">
                                        <p:cTn id="102" dur="400" fill="hold"/>
                                        <p:tgtEl>
                                          <p:spTgt spid="36"/>
                                        </p:tgtEl>
                                        <p:attrNameLst>
                                          <p:attrName>ppt_x</p:attrName>
                                        </p:attrNameLst>
                                      </p:cBhvr>
                                      <p:tavLst>
                                        <p:tav tm="0">
                                          <p:val>
                                            <p:strVal val="#ppt_x"/>
                                          </p:val>
                                        </p:tav>
                                        <p:tav tm="100000">
                                          <p:val>
                                            <p:strVal val="#ppt_x"/>
                                          </p:val>
                                        </p:tav>
                                      </p:tavLst>
                                    </p:anim>
                                    <p:anim calcmode="lin" valueType="num">
                                      <p:cBhvr additive="base">
                                        <p:cTn id="103" dur="4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43" grpId="0"/>
      <p:bldP spid="45" grpId="0"/>
      <p:bldP spid="36" grpId="0"/>
      <p:bldP spid="88" grpId="0" uiExpand="1" build="p"/>
      <p:bldP spid="89"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4" name="Donut 37"/>
          <p:cNvSpPr/>
          <p:nvPr/>
        </p:nvSpPr>
        <p:spPr>
          <a:xfrm>
            <a:off x="4899112" y="2280343"/>
            <a:ext cx="3041984" cy="3041984"/>
          </a:xfrm>
          <a:prstGeom prst="donut">
            <a:avLst>
              <a:gd name="adj" fmla="val 5220"/>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995" name="Donut 38"/>
          <p:cNvSpPr/>
          <p:nvPr/>
        </p:nvSpPr>
        <p:spPr>
          <a:xfrm>
            <a:off x="5138213" y="2525864"/>
            <a:ext cx="2557362" cy="2557362"/>
          </a:xfrm>
          <a:prstGeom prst="donut">
            <a:avLst>
              <a:gd name="adj" fmla="val 6418"/>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996" name="Donut 39"/>
          <p:cNvSpPr/>
          <p:nvPr/>
        </p:nvSpPr>
        <p:spPr>
          <a:xfrm>
            <a:off x="5410454" y="2785265"/>
            <a:ext cx="2025720" cy="2025720"/>
          </a:xfrm>
          <a:prstGeom prst="donut">
            <a:avLst>
              <a:gd name="adj" fmla="val 7219"/>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997" name="Donut 1"/>
          <p:cNvSpPr/>
          <p:nvPr/>
        </p:nvSpPr>
        <p:spPr>
          <a:xfrm>
            <a:off x="4652264" y="2033495"/>
            <a:ext cx="3535680" cy="3535680"/>
          </a:xfrm>
          <a:prstGeom prst="donut">
            <a:avLst>
              <a:gd name="adj" fmla="val 4317"/>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998" name="Block Arc 32"/>
          <p:cNvSpPr/>
          <p:nvPr/>
        </p:nvSpPr>
        <p:spPr>
          <a:xfrm flipH="1">
            <a:off x="4652264" y="2033495"/>
            <a:ext cx="3535680" cy="3535680"/>
          </a:xfrm>
          <a:prstGeom prst="blockArc">
            <a:avLst>
              <a:gd name="adj1" fmla="val 3787504"/>
              <a:gd name="adj2" fmla="val 16202892"/>
              <a:gd name="adj3" fmla="val 4205"/>
            </a:avLst>
          </a:prstGeom>
          <a:solidFill>
            <a:srgbClr val="F944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99" name="Block Arc 33"/>
          <p:cNvSpPr/>
          <p:nvPr/>
        </p:nvSpPr>
        <p:spPr>
          <a:xfrm rot="20710840" flipH="1">
            <a:off x="4899112" y="2280343"/>
            <a:ext cx="3041984" cy="3041984"/>
          </a:xfrm>
          <a:prstGeom prst="blockArc">
            <a:avLst>
              <a:gd name="adj1" fmla="val 1427478"/>
              <a:gd name="adj2" fmla="val 16202949"/>
              <a:gd name="adj3" fmla="val 5085"/>
            </a:avLst>
          </a:prstGeom>
          <a:solidFill>
            <a:srgbClr val="0200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00" name="Block Arc 34"/>
          <p:cNvSpPr/>
          <p:nvPr/>
        </p:nvSpPr>
        <p:spPr>
          <a:xfrm rot="19455638" flipH="1">
            <a:off x="5144633" y="2525864"/>
            <a:ext cx="2550942" cy="2550942"/>
          </a:xfrm>
          <a:prstGeom prst="blockArc">
            <a:avLst>
              <a:gd name="adj1" fmla="val 18246226"/>
              <a:gd name="adj2" fmla="val 16212231"/>
              <a:gd name="adj3" fmla="val 6142"/>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03" name="Text Placeholder 32"/>
          <p:cNvSpPr txBox="1">
            <a:spLocks/>
          </p:cNvSpPr>
          <p:nvPr/>
        </p:nvSpPr>
        <p:spPr>
          <a:xfrm>
            <a:off x="9568257" y="2610581"/>
            <a:ext cx="2674187" cy="138748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spcBef>
                <a:spcPts val="0"/>
              </a:spcBef>
              <a:buNone/>
            </a:pPr>
            <a:r>
              <a:rPr lang="fr-FR" sz="1400" b="1" dirty="0">
                <a:solidFill>
                  <a:schemeClr val="tx2"/>
                </a:solidFill>
                <a:latin typeface="Lato  "/>
              </a:rPr>
              <a:t>-125 Pays</a:t>
            </a:r>
          </a:p>
          <a:p>
            <a:pPr marL="0" indent="0">
              <a:lnSpc>
                <a:spcPct val="100000"/>
              </a:lnSpc>
              <a:spcBef>
                <a:spcPts val="0"/>
              </a:spcBef>
              <a:buNone/>
            </a:pPr>
            <a:r>
              <a:rPr lang="fr-FR" sz="1400" b="1" dirty="0">
                <a:solidFill>
                  <a:schemeClr val="tx2"/>
                </a:solidFill>
                <a:latin typeface="Lato  "/>
              </a:rPr>
              <a:t>     </a:t>
            </a:r>
          </a:p>
          <a:p>
            <a:pPr marL="0" indent="0">
              <a:lnSpc>
                <a:spcPct val="100000"/>
              </a:lnSpc>
              <a:spcBef>
                <a:spcPts val="0"/>
              </a:spcBef>
              <a:buNone/>
            </a:pPr>
            <a:r>
              <a:rPr lang="fr-FR" sz="1400" b="1" dirty="0">
                <a:solidFill>
                  <a:schemeClr val="tx2"/>
                </a:solidFill>
                <a:latin typeface="Lato  "/>
              </a:rPr>
              <a:t>     </a:t>
            </a:r>
            <a:endParaRPr lang="it-IT" sz="1400" b="1" dirty="0">
              <a:solidFill>
                <a:schemeClr val="tx2"/>
              </a:solidFill>
              <a:latin typeface="Lato  "/>
            </a:endParaRPr>
          </a:p>
        </p:txBody>
      </p:sp>
      <p:sp>
        <p:nvSpPr>
          <p:cNvPr id="1004" name="Text Placeholder 33"/>
          <p:cNvSpPr txBox="1">
            <a:spLocks/>
          </p:cNvSpPr>
          <p:nvPr/>
        </p:nvSpPr>
        <p:spPr>
          <a:xfrm>
            <a:off x="9563818" y="2315891"/>
            <a:ext cx="2012804" cy="280177"/>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600" b="1" dirty="0">
                <a:solidFill>
                  <a:srgbClr val="F94407"/>
                </a:solidFill>
                <a:latin typeface="Lato" panose="020F0502020204030203" pitchFamily="34" charset="0"/>
              </a:rPr>
              <a:t>Groupe RENAULT</a:t>
            </a:r>
          </a:p>
        </p:txBody>
      </p:sp>
      <p:sp>
        <p:nvSpPr>
          <p:cNvPr id="1007" name="Text Placeholder 33"/>
          <p:cNvSpPr txBox="1">
            <a:spLocks/>
          </p:cNvSpPr>
          <p:nvPr/>
        </p:nvSpPr>
        <p:spPr>
          <a:xfrm>
            <a:off x="9578156" y="4431885"/>
            <a:ext cx="2891944" cy="259139"/>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fr-FR" sz="1600" b="1" dirty="0">
                <a:solidFill>
                  <a:srgbClr val="020088"/>
                </a:solidFill>
                <a:latin typeface="Lato" panose="020F0502020204030203" pitchFamily="34" charset="0"/>
              </a:rPr>
              <a:t>RENAULT TANGER</a:t>
            </a:r>
          </a:p>
        </p:txBody>
      </p:sp>
      <p:cxnSp>
        <p:nvCxnSpPr>
          <p:cNvPr id="1008" name="Straight Arrow Connector 5"/>
          <p:cNvCxnSpPr/>
          <p:nvPr/>
        </p:nvCxnSpPr>
        <p:spPr>
          <a:xfrm>
            <a:off x="7606124" y="2609874"/>
            <a:ext cx="863413" cy="0"/>
          </a:xfrm>
          <a:prstGeom prst="straightConnector1">
            <a:avLst/>
          </a:prstGeom>
          <a:ln w="19050">
            <a:solidFill>
              <a:schemeClr val="tx1">
                <a:lumMod val="95000"/>
                <a:lumOff val="5000"/>
                <a:alpha val="50000"/>
              </a:schemeClr>
            </a:solidFill>
            <a:tailEnd type="oval" w="lg" len="lg"/>
          </a:ln>
        </p:spPr>
        <p:style>
          <a:lnRef idx="2">
            <a:schemeClr val="accent1"/>
          </a:lnRef>
          <a:fillRef idx="0">
            <a:schemeClr val="accent1"/>
          </a:fillRef>
          <a:effectRef idx="1">
            <a:schemeClr val="accent1"/>
          </a:effectRef>
          <a:fontRef idx="minor">
            <a:schemeClr val="tx1"/>
          </a:fontRef>
        </p:style>
      </p:cxnSp>
      <p:cxnSp>
        <p:nvCxnSpPr>
          <p:cNvPr id="1009" name="Straight Arrow Connector 75"/>
          <p:cNvCxnSpPr/>
          <p:nvPr/>
        </p:nvCxnSpPr>
        <p:spPr>
          <a:xfrm>
            <a:off x="7604135" y="4634892"/>
            <a:ext cx="925862" cy="0"/>
          </a:xfrm>
          <a:prstGeom prst="straightConnector1">
            <a:avLst/>
          </a:prstGeom>
          <a:ln w="19050">
            <a:solidFill>
              <a:schemeClr val="tx1">
                <a:lumMod val="95000"/>
                <a:lumOff val="5000"/>
                <a:alpha val="50000"/>
              </a:schemeClr>
            </a:solidFill>
            <a:tailEnd type="oval" w="lg" len="lg"/>
          </a:ln>
        </p:spPr>
        <p:style>
          <a:lnRef idx="2">
            <a:schemeClr val="accent1"/>
          </a:lnRef>
          <a:fillRef idx="0">
            <a:schemeClr val="accent1"/>
          </a:fillRef>
          <a:effectRef idx="1">
            <a:schemeClr val="accent1"/>
          </a:effectRef>
          <a:fontRef idx="minor">
            <a:schemeClr val="tx1"/>
          </a:fontRef>
        </p:style>
      </p:cxnSp>
      <p:cxnSp>
        <p:nvCxnSpPr>
          <p:cNvPr id="1016" name="Straight Arrow Connector 82"/>
          <p:cNvCxnSpPr/>
          <p:nvPr/>
        </p:nvCxnSpPr>
        <p:spPr>
          <a:xfrm flipH="1" flipV="1">
            <a:off x="4298974" y="3710529"/>
            <a:ext cx="916521" cy="1"/>
          </a:xfrm>
          <a:prstGeom prst="straightConnector1">
            <a:avLst/>
          </a:prstGeom>
          <a:ln w="19050">
            <a:solidFill>
              <a:schemeClr val="tx1">
                <a:lumMod val="95000"/>
                <a:lumOff val="5000"/>
                <a:alpha val="50000"/>
              </a:schemeClr>
            </a:solidFill>
            <a:tailEnd type="oval" w="lg" len="lg"/>
          </a:ln>
        </p:spPr>
        <p:style>
          <a:lnRef idx="2">
            <a:schemeClr val="accent1"/>
          </a:lnRef>
          <a:fillRef idx="0">
            <a:schemeClr val="accent1"/>
          </a:fillRef>
          <a:effectRef idx="1">
            <a:schemeClr val="accent1"/>
          </a:effectRef>
          <a:fontRef idx="minor">
            <a:schemeClr val="tx1"/>
          </a:fontRef>
        </p:style>
      </p:cxnSp>
      <p:grpSp>
        <p:nvGrpSpPr>
          <p:cNvPr id="10" name="Groupe 9"/>
          <p:cNvGrpSpPr/>
          <p:nvPr/>
        </p:nvGrpSpPr>
        <p:grpSpPr>
          <a:xfrm>
            <a:off x="8671740" y="2315891"/>
            <a:ext cx="765167" cy="585787"/>
            <a:chOff x="8781284" y="2502039"/>
            <a:chExt cx="765167" cy="585787"/>
          </a:xfrm>
          <a:solidFill>
            <a:srgbClr val="F94407"/>
          </a:solidFill>
        </p:grpSpPr>
        <p:sp>
          <p:nvSpPr>
            <p:cNvPr id="1002" name="Oval 41"/>
            <p:cNvSpPr/>
            <p:nvPr/>
          </p:nvSpPr>
          <p:spPr>
            <a:xfrm>
              <a:off x="8866945" y="2502039"/>
              <a:ext cx="585787" cy="5857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dirty="0"/>
            </a:p>
          </p:txBody>
        </p:sp>
        <p:sp>
          <p:nvSpPr>
            <p:cNvPr id="3" name="ZoneTexte 2"/>
            <p:cNvSpPr txBox="1"/>
            <p:nvPr/>
          </p:nvSpPr>
          <p:spPr>
            <a:xfrm>
              <a:off x="8781284" y="2610266"/>
              <a:ext cx="765167" cy="369332"/>
            </a:xfrm>
            <a:prstGeom prst="rect">
              <a:avLst/>
            </a:prstGeom>
            <a:grpFill/>
          </p:spPr>
          <p:txBody>
            <a:bodyPr wrap="square" rtlCol="0">
              <a:spAutoFit/>
            </a:bodyPr>
            <a:lstStyle/>
            <a:p>
              <a:r>
                <a:rPr lang="it-IT" dirty="0">
                  <a:solidFill>
                    <a:schemeClr val="bg1"/>
                  </a:solidFill>
                  <a:latin typeface="Lato" panose="020F0502020204030203"/>
                  <a:cs typeface="Lao UI" panose="020B0502040204020203" pitchFamily="34" charset="0"/>
                </a:rPr>
                <a:t>1898</a:t>
              </a:r>
              <a:endParaRPr lang="fr-FR" dirty="0">
                <a:solidFill>
                  <a:schemeClr val="bg1"/>
                </a:solidFill>
                <a:latin typeface="Lato" panose="020F0502020204030203"/>
                <a:cs typeface="Lao UI" panose="020B0502040204020203" pitchFamily="34" charset="0"/>
              </a:endParaRPr>
            </a:p>
          </p:txBody>
        </p:sp>
      </p:grpSp>
      <p:grpSp>
        <p:nvGrpSpPr>
          <p:cNvPr id="11" name="Groupe 10"/>
          <p:cNvGrpSpPr/>
          <p:nvPr/>
        </p:nvGrpSpPr>
        <p:grpSpPr>
          <a:xfrm>
            <a:off x="8707698" y="4399910"/>
            <a:ext cx="765167" cy="585787"/>
            <a:chOff x="8802002" y="4220298"/>
            <a:chExt cx="765167" cy="585787"/>
          </a:xfrm>
          <a:solidFill>
            <a:srgbClr val="020088"/>
          </a:solidFill>
        </p:grpSpPr>
        <p:sp>
          <p:nvSpPr>
            <p:cNvPr id="1005" name="Oval 44"/>
            <p:cNvSpPr/>
            <p:nvPr/>
          </p:nvSpPr>
          <p:spPr>
            <a:xfrm>
              <a:off x="8869064" y="4220298"/>
              <a:ext cx="585787" cy="5857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a:solidFill>
                  <a:srgbClr val="FFFFFF"/>
                </a:solidFill>
                <a:latin typeface="FontAwesome" pitchFamily="2" charset="0"/>
              </a:endParaRPr>
            </a:p>
          </p:txBody>
        </p:sp>
        <p:sp>
          <p:nvSpPr>
            <p:cNvPr id="1021" name="ZoneTexte 1020"/>
            <p:cNvSpPr txBox="1"/>
            <p:nvPr/>
          </p:nvSpPr>
          <p:spPr>
            <a:xfrm>
              <a:off x="8802002" y="4328526"/>
              <a:ext cx="765167" cy="369332"/>
            </a:xfrm>
            <a:prstGeom prst="rect">
              <a:avLst/>
            </a:prstGeom>
            <a:grpFill/>
          </p:spPr>
          <p:txBody>
            <a:bodyPr wrap="square" rtlCol="0">
              <a:spAutoFit/>
            </a:bodyPr>
            <a:lstStyle/>
            <a:p>
              <a:r>
                <a:rPr lang="it-IT" dirty="0">
                  <a:solidFill>
                    <a:schemeClr val="bg1"/>
                  </a:solidFill>
                  <a:latin typeface="Lato" panose="020F0502020204030203"/>
                  <a:cs typeface="Lao UI" panose="020B0502040204020203" pitchFamily="34" charset="0"/>
                </a:rPr>
                <a:t>2008 </a:t>
              </a:r>
              <a:endParaRPr lang="fr-FR" dirty="0">
                <a:solidFill>
                  <a:schemeClr val="bg1"/>
                </a:solidFill>
                <a:latin typeface="Lato" panose="020F0502020204030203"/>
                <a:cs typeface="Lao UI" panose="020B0502040204020203" pitchFamily="34" charset="0"/>
              </a:endParaRPr>
            </a:p>
          </p:txBody>
        </p:sp>
      </p:grpSp>
      <p:grpSp>
        <p:nvGrpSpPr>
          <p:cNvPr id="12" name="Groupe 11"/>
          <p:cNvGrpSpPr/>
          <p:nvPr/>
        </p:nvGrpSpPr>
        <p:grpSpPr>
          <a:xfrm>
            <a:off x="3252047" y="3429000"/>
            <a:ext cx="1080283" cy="709360"/>
            <a:chOff x="3300056" y="4089218"/>
            <a:chExt cx="765167" cy="1068029"/>
          </a:xfrm>
        </p:grpSpPr>
        <p:sp>
          <p:nvSpPr>
            <p:cNvPr id="1013" name="Oval 79"/>
            <p:cNvSpPr/>
            <p:nvPr/>
          </p:nvSpPr>
          <p:spPr>
            <a:xfrm flipH="1">
              <a:off x="3345703" y="4089218"/>
              <a:ext cx="585787" cy="1068029"/>
            </a:xfrm>
            <a:prstGeom prst="ellipse">
              <a:avLst/>
            </a:prstGeom>
            <a:solidFill>
              <a:schemeClr val="tx1">
                <a:lumMod val="75000"/>
                <a:lumOff val="25000"/>
              </a:schemeClr>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600" dirty="0">
                <a:solidFill>
                  <a:schemeClr val="tx1"/>
                </a:solidFill>
              </a:endParaRPr>
            </a:p>
          </p:txBody>
        </p:sp>
        <p:sp>
          <p:nvSpPr>
            <p:cNvPr id="1022" name="ZoneTexte 1021"/>
            <p:cNvSpPr txBox="1"/>
            <p:nvPr/>
          </p:nvSpPr>
          <p:spPr>
            <a:xfrm>
              <a:off x="3300056" y="4328525"/>
              <a:ext cx="765167" cy="480134"/>
            </a:xfrm>
            <a:prstGeom prst="rect">
              <a:avLst/>
            </a:prstGeom>
            <a:solidFill>
              <a:srgbClr val="404040"/>
            </a:solidFill>
            <a:ln>
              <a:solidFill>
                <a:srgbClr val="404040"/>
              </a:solidFill>
            </a:ln>
          </p:spPr>
          <p:txBody>
            <a:bodyPr wrap="square" rtlCol="0">
              <a:spAutoFit/>
            </a:bodyPr>
            <a:lstStyle/>
            <a:p>
              <a:r>
                <a:rPr lang="fr-FR" dirty="0">
                  <a:solidFill>
                    <a:schemeClr val="bg1"/>
                  </a:solidFill>
                  <a:latin typeface="Lato" panose="020F0502020204030203"/>
                  <a:cs typeface="Lao UI" panose="020B0502040204020203" pitchFamily="34" charset="0"/>
                </a:rPr>
                <a:t>Marques</a:t>
              </a:r>
            </a:p>
          </p:txBody>
        </p:sp>
      </p:grpSp>
      <p:sp>
        <p:nvSpPr>
          <p:cNvPr id="51" name="ZoneTexte 50"/>
          <p:cNvSpPr txBox="1"/>
          <p:nvPr/>
        </p:nvSpPr>
        <p:spPr>
          <a:xfrm>
            <a:off x="4942122" y="1467658"/>
            <a:ext cx="3107978" cy="400110"/>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2000" b="1" dirty="0">
                <a:solidFill>
                  <a:srgbClr val="020088"/>
                </a:solidFill>
                <a:cs typeface="Times New Roman" pitchFamily="18" charset="0"/>
              </a:rPr>
              <a:t>Construction  automobile</a:t>
            </a:r>
          </a:p>
        </p:txBody>
      </p:sp>
      <p:grpSp>
        <p:nvGrpSpPr>
          <p:cNvPr id="29" name="Groupe 28"/>
          <p:cNvGrpSpPr/>
          <p:nvPr/>
        </p:nvGrpSpPr>
        <p:grpSpPr>
          <a:xfrm>
            <a:off x="242964" y="873455"/>
            <a:ext cx="3797947" cy="423771"/>
            <a:chOff x="1843623" y="816113"/>
            <a:chExt cx="2741989" cy="423771"/>
          </a:xfrm>
        </p:grpSpPr>
        <p:sp>
          <p:nvSpPr>
            <p:cNvPr id="21" name="ZoneTexte 20"/>
            <p:cNvSpPr txBox="1"/>
            <p:nvPr/>
          </p:nvSpPr>
          <p:spPr>
            <a:xfrm>
              <a:off x="1843623" y="816113"/>
              <a:ext cx="2741989"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600" b="1" dirty="0">
                  <a:latin typeface="Lato  "/>
                </a:rPr>
                <a:t>   Organisme d’accueil RENAULT TANGER</a:t>
              </a:r>
            </a:p>
          </p:txBody>
        </p:sp>
        <p:cxnSp>
          <p:nvCxnSpPr>
            <p:cNvPr id="52" name="Connecteur droit 51"/>
            <p:cNvCxnSpPr/>
            <p:nvPr/>
          </p:nvCxnSpPr>
          <p:spPr>
            <a:xfrm>
              <a:off x="1860066" y="1239884"/>
              <a:ext cx="540001" cy="0"/>
            </a:xfrm>
            <a:prstGeom prst="line">
              <a:avLst/>
            </a:prstGeom>
            <a:ln w="28575">
              <a:solidFill>
                <a:srgbClr val="EE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3" name="Groupe 12"/>
          <p:cNvGrpSpPr/>
          <p:nvPr/>
        </p:nvGrpSpPr>
        <p:grpSpPr>
          <a:xfrm>
            <a:off x="4378238" y="860921"/>
            <a:ext cx="3233729" cy="379493"/>
            <a:chOff x="5059598" y="818819"/>
            <a:chExt cx="3233729" cy="379493"/>
          </a:xfrm>
        </p:grpSpPr>
        <p:sp>
          <p:nvSpPr>
            <p:cNvPr id="24" name="ZoneTexte 23"/>
            <p:cNvSpPr txBox="1"/>
            <p:nvPr/>
          </p:nvSpPr>
          <p:spPr>
            <a:xfrm>
              <a:off x="5059598" y="818819"/>
              <a:ext cx="3233729"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600" dirty="0">
                  <a:solidFill>
                    <a:schemeClr val="bg2">
                      <a:lumMod val="90000"/>
                    </a:schemeClr>
                  </a:solidFill>
                  <a:latin typeface="Lato  "/>
                </a:rPr>
                <a:t>Processus de fabrication de l’usine</a:t>
              </a:r>
            </a:p>
          </p:txBody>
        </p:sp>
        <p:cxnSp>
          <p:nvCxnSpPr>
            <p:cNvPr id="65" name="Connecteur droit 64"/>
            <p:cNvCxnSpPr/>
            <p:nvPr/>
          </p:nvCxnSpPr>
          <p:spPr>
            <a:xfrm>
              <a:off x="5411034" y="1198312"/>
              <a:ext cx="771015"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4" name="ZoneTexte 53"/>
          <p:cNvSpPr txBox="1"/>
          <p:nvPr/>
        </p:nvSpPr>
        <p:spPr>
          <a:xfrm>
            <a:off x="390860" y="74183"/>
            <a:ext cx="1821107" cy="646331"/>
          </a:xfrm>
          <a:prstGeom prst="rect">
            <a:avLst/>
          </a:prstGeom>
          <a:solidFill>
            <a:srgbClr val="020088"/>
          </a:solidFill>
        </p:spPr>
        <p:txBody>
          <a:bodyPr wrap="square" rtlCol="0">
            <a:spAutoFit/>
          </a:bodyPr>
          <a:lstStyle>
            <a:defPPr>
              <a:defRPr lang="fr-FR"/>
            </a:defPPr>
            <a:lvl1pPr algn="ctr">
              <a:defRPr sz="2000">
                <a:solidFill>
                  <a:schemeClr val="bg1"/>
                </a:solidFill>
                <a:latin typeface="Lato  "/>
              </a:defRPr>
            </a:lvl1pPr>
          </a:lstStyle>
          <a:p>
            <a:r>
              <a:rPr lang="it-IT" sz="1800" dirty="0"/>
              <a:t>Environnement </a:t>
            </a:r>
          </a:p>
          <a:p>
            <a:r>
              <a:rPr lang="it-IT" sz="1800" dirty="0"/>
              <a:t>du projet</a:t>
            </a:r>
            <a:endParaRPr lang="fr-FR" sz="1800" dirty="0"/>
          </a:p>
        </p:txBody>
      </p:sp>
      <p:sp>
        <p:nvSpPr>
          <p:cNvPr id="55" name="ZoneTexte 54"/>
          <p:cNvSpPr txBox="1"/>
          <p:nvPr/>
        </p:nvSpPr>
        <p:spPr>
          <a:xfrm>
            <a:off x="6433678" y="74184"/>
            <a:ext cx="1784587" cy="646331"/>
          </a:xfrm>
          <a:prstGeom prst="rect">
            <a:avLst/>
          </a:prstGeom>
          <a:solidFill>
            <a:schemeClr val="bg2"/>
          </a:solidFill>
        </p:spPr>
        <p:txBody>
          <a:bodyPr wrap="square" rtlCol="0">
            <a:spAutoFit/>
          </a:bodyPr>
          <a:lstStyle>
            <a:defPPr>
              <a:defRPr lang="fr-FR"/>
            </a:defPPr>
            <a:lvl1pPr algn="ctr">
              <a:defRPr sz="2000">
                <a:latin typeface="Lato  "/>
              </a:defRPr>
            </a:lvl1pPr>
          </a:lstStyle>
          <a:p>
            <a:r>
              <a:rPr lang="it-IT" sz="1800" dirty="0"/>
              <a:t>Mise en oeuvre du projet</a:t>
            </a:r>
            <a:endParaRPr lang="fr-FR" sz="1800" dirty="0"/>
          </a:p>
        </p:txBody>
      </p:sp>
      <p:sp>
        <p:nvSpPr>
          <p:cNvPr id="56" name="ZoneTexte 55"/>
          <p:cNvSpPr txBox="1"/>
          <p:nvPr/>
        </p:nvSpPr>
        <p:spPr>
          <a:xfrm>
            <a:off x="9319488" y="74730"/>
            <a:ext cx="1752879" cy="646331"/>
          </a:xfrm>
          <a:prstGeom prst="rect">
            <a:avLst/>
          </a:prstGeom>
          <a:solidFill>
            <a:schemeClr val="bg2"/>
          </a:solidFill>
        </p:spPr>
        <p:txBody>
          <a:bodyPr wrap="square" rtlCol="0">
            <a:spAutoFit/>
          </a:bodyPr>
          <a:lstStyle/>
          <a:p>
            <a:pPr algn="ctr"/>
            <a:r>
              <a:rPr lang="it-IT" dirty="0">
                <a:latin typeface="Lato  "/>
              </a:rPr>
              <a:t>Conclusion et</a:t>
            </a:r>
          </a:p>
          <a:p>
            <a:pPr algn="ctr"/>
            <a:r>
              <a:rPr lang="it-IT" dirty="0">
                <a:latin typeface="Lato  "/>
              </a:rPr>
              <a:t> Perspectives</a:t>
            </a:r>
            <a:endParaRPr lang="fr-FR" dirty="0">
              <a:latin typeface="Lato  "/>
            </a:endParaRPr>
          </a:p>
        </p:txBody>
      </p:sp>
      <p:cxnSp>
        <p:nvCxnSpPr>
          <p:cNvPr id="57" name="Connecteur droit 56"/>
          <p:cNvCxnSpPr>
            <a:cxnSpLocks/>
          </p:cNvCxnSpPr>
          <p:nvPr/>
        </p:nvCxnSpPr>
        <p:spPr>
          <a:xfrm>
            <a:off x="11077903" y="410171"/>
            <a:ext cx="793875"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58" name="Connecteur droit 57"/>
          <p:cNvCxnSpPr>
            <a:cxnSpLocks/>
            <a:stCxn id="54" idx="3"/>
            <a:endCxn id="66" idx="1"/>
          </p:cNvCxnSpPr>
          <p:nvPr/>
        </p:nvCxnSpPr>
        <p:spPr>
          <a:xfrm>
            <a:off x="2211967" y="397349"/>
            <a:ext cx="1101223"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59" name="Connecteur droit 58"/>
          <p:cNvCxnSpPr>
            <a:cxnSpLocks/>
            <a:stCxn id="55" idx="3"/>
            <a:endCxn id="56" idx="1"/>
          </p:cNvCxnSpPr>
          <p:nvPr/>
        </p:nvCxnSpPr>
        <p:spPr>
          <a:xfrm>
            <a:off x="8218265" y="397350"/>
            <a:ext cx="1101223" cy="546"/>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47" name="Group 3"/>
          <p:cNvGrpSpPr/>
          <p:nvPr/>
        </p:nvGrpSpPr>
        <p:grpSpPr>
          <a:xfrm rot="10800000">
            <a:off x="11632841" y="410171"/>
            <a:ext cx="504000" cy="6352766"/>
            <a:chOff x="-5771165" y="1295207"/>
            <a:chExt cx="504000" cy="6352766"/>
          </a:xfrm>
          <a:solidFill>
            <a:srgbClr val="020088"/>
          </a:solidFill>
        </p:grpSpPr>
        <p:cxnSp>
          <p:nvCxnSpPr>
            <p:cNvPr id="49" name="Straight Connector 9"/>
            <p:cNvCxnSpPr>
              <a:cxnSpLocks/>
            </p:cNvCxnSpPr>
            <p:nvPr/>
          </p:nvCxnSpPr>
          <p:spPr>
            <a:xfrm rot="10800000" flipV="1">
              <a:off x="-5506102" y="1610316"/>
              <a:ext cx="0" cy="6037657"/>
            </a:xfrm>
            <a:prstGeom prst="line">
              <a:avLst/>
            </a:prstGeom>
            <a:grpFill/>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50" name="Teardrop 38"/>
            <p:cNvSpPr/>
            <p:nvPr/>
          </p:nvSpPr>
          <p:spPr>
            <a:xfrm rot="8100000">
              <a:off x="-5771165" y="1295207"/>
              <a:ext cx="504000" cy="504000"/>
            </a:xfrm>
            <a:prstGeom prst="teardrop">
              <a:avLst>
                <a:gd name="adj" fmla="val 9891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a:p>
          </p:txBody>
        </p:sp>
      </p:grpSp>
      <p:sp>
        <p:nvSpPr>
          <p:cNvPr id="2" name="Espace réservé du numéro de diapositive 1"/>
          <p:cNvSpPr>
            <a:spLocks noGrp="1"/>
          </p:cNvSpPr>
          <p:nvPr>
            <p:ph type="sldNum" sz="quarter" idx="12"/>
          </p:nvPr>
        </p:nvSpPr>
        <p:spPr>
          <a:xfrm>
            <a:off x="9292085" y="6296927"/>
            <a:ext cx="2743200" cy="365125"/>
          </a:xfrm>
        </p:spPr>
        <p:txBody>
          <a:bodyPr/>
          <a:lstStyle/>
          <a:p>
            <a:r>
              <a:rPr lang="fr-FR" sz="1600" dirty="0">
                <a:solidFill>
                  <a:schemeClr val="bg1"/>
                </a:solidFill>
                <a:latin typeface="Lato"/>
              </a:rPr>
              <a:t>3</a:t>
            </a:r>
          </a:p>
        </p:txBody>
      </p:sp>
      <p:grpSp>
        <p:nvGrpSpPr>
          <p:cNvPr id="60" name="Groupe 59"/>
          <p:cNvGrpSpPr/>
          <p:nvPr/>
        </p:nvGrpSpPr>
        <p:grpSpPr>
          <a:xfrm>
            <a:off x="7917649" y="806825"/>
            <a:ext cx="3983699" cy="584775"/>
            <a:chOff x="3854267" y="58690"/>
            <a:chExt cx="1284834" cy="616138"/>
          </a:xfrm>
        </p:grpSpPr>
        <p:sp>
          <p:nvSpPr>
            <p:cNvPr id="61" name="ZoneTexte 60"/>
            <p:cNvSpPr txBox="1"/>
            <p:nvPr/>
          </p:nvSpPr>
          <p:spPr>
            <a:xfrm>
              <a:off x="3854267" y="58690"/>
              <a:ext cx="1284834" cy="616138"/>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600" dirty="0">
                  <a:solidFill>
                    <a:schemeClr val="bg2">
                      <a:lumMod val="90000"/>
                    </a:schemeClr>
                  </a:solidFill>
                  <a:latin typeface="Lato  "/>
                </a:rPr>
                <a:t>Processus de fabrication de l’atelier Tôlerie</a:t>
              </a:r>
            </a:p>
          </p:txBody>
        </p:sp>
        <p:cxnSp>
          <p:nvCxnSpPr>
            <p:cNvPr id="62" name="Connecteur droit 61"/>
            <p:cNvCxnSpPr/>
            <p:nvPr/>
          </p:nvCxnSpPr>
          <p:spPr>
            <a:xfrm>
              <a:off x="3960936" y="451394"/>
              <a:ext cx="296279"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Espace réservé du numéro de diapositive 4">
            <a:extLst>
              <a:ext uri="{FF2B5EF4-FFF2-40B4-BE49-F238E27FC236}">
                <a16:creationId xmlns:a16="http://schemas.microsoft.com/office/drawing/2014/main" id="{FB157A64-106C-4806-BDBE-C8499C33AF73}"/>
              </a:ext>
            </a:extLst>
          </p:cNvPr>
          <p:cNvSpPr txBox="1">
            <a:spLocks/>
          </p:cNvSpPr>
          <p:nvPr/>
        </p:nvSpPr>
        <p:spPr>
          <a:xfrm>
            <a:off x="8649913" y="6106434"/>
            <a:ext cx="474215" cy="538944"/>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800" dirty="0">
                <a:solidFill>
                  <a:schemeClr val="bg1"/>
                </a:solidFill>
                <a:latin typeface="Lato" panose="020F0502020204030203"/>
              </a:rPr>
              <a:t>1</a:t>
            </a:r>
            <a:endParaRPr lang="fr-FR" sz="1400" dirty="0">
              <a:solidFill>
                <a:schemeClr val="bg1"/>
              </a:solidFill>
              <a:latin typeface="Lato" panose="020F0502020204030203"/>
            </a:endParaRPr>
          </a:p>
        </p:txBody>
      </p:sp>
      <p:sp>
        <p:nvSpPr>
          <p:cNvPr id="66" name="ZoneTexte 54">
            <a:extLst>
              <a:ext uri="{FF2B5EF4-FFF2-40B4-BE49-F238E27FC236}">
                <a16:creationId xmlns:a16="http://schemas.microsoft.com/office/drawing/2014/main" id="{51D2A79E-E2CD-4378-9507-F4C8FA806D5B}"/>
              </a:ext>
            </a:extLst>
          </p:cNvPr>
          <p:cNvSpPr txBox="1"/>
          <p:nvPr/>
        </p:nvSpPr>
        <p:spPr>
          <a:xfrm>
            <a:off x="3313190" y="74184"/>
            <a:ext cx="2024481" cy="646331"/>
          </a:xfrm>
          <a:prstGeom prst="rect">
            <a:avLst/>
          </a:prstGeom>
          <a:solidFill>
            <a:schemeClr val="bg2"/>
          </a:solidFill>
        </p:spPr>
        <p:txBody>
          <a:bodyPr wrap="square" rtlCol="0">
            <a:spAutoFit/>
          </a:bodyPr>
          <a:lstStyle>
            <a:defPPr>
              <a:defRPr lang="fr-FR"/>
            </a:defPPr>
            <a:lvl1pPr algn="ctr">
              <a:defRPr sz="2000">
                <a:latin typeface="Lato  "/>
              </a:defRPr>
            </a:lvl1pPr>
          </a:lstStyle>
          <a:p>
            <a:r>
              <a:rPr lang="it-IT" sz="1800" dirty="0"/>
              <a:t>Contexte Général</a:t>
            </a:r>
          </a:p>
          <a:p>
            <a:r>
              <a:rPr lang="it-IT" sz="1800" dirty="0"/>
              <a:t> du projet</a:t>
            </a:r>
          </a:p>
        </p:txBody>
      </p:sp>
      <p:cxnSp>
        <p:nvCxnSpPr>
          <p:cNvPr id="67" name="Connecteur droit 57">
            <a:extLst>
              <a:ext uri="{FF2B5EF4-FFF2-40B4-BE49-F238E27FC236}">
                <a16:creationId xmlns:a16="http://schemas.microsoft.com/office/drawing/2014/main" id="{75FD3FFB-26AE-496E-B4E3-73888170332C}"/>
              </a:ext>
            </a:extLst>
          </p:cNvPr>
          <p:cNvCxnSpPr>
            <a:cxnSpLocks/>
            <a:stCxn id="66" idx="3"/>
            <a:endCxn id="55" idx="1"/>
          </p:cNvCxnSpPr>
          <p:nvPr/>
        </p:nvCxnSpPr>
        <p:spPr>
          <a:xfrm>
            <a:off x="5337671" y="397350"/>
            <a:ext cx="1096007" cy="0"/>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pic>
        <p:nvPicPr>
          <p:cNvPr id="63" name="Picture 2" descr="Résultat de recherche d'images pour &quot;renault logo&quot;">
            <a:extLst>
              <a:ext uri="{FF2B5EF4-FFF2-40B4-BE49-F238E27FC236}">
                <a16:creationId xmlns:a16="http://schemas.microsoft.com/office/drawing/2014/main" id="{B68D1FE7-06E5-4477-A45D-D31C03DB5CDF}"/>
              </a:ext>
            </a:extLst>
          </p:cNvPr>
          <p:cNvPicPr>
            <a:picLocks noChangeAspect="1" noChangeArrowheads="1"/>
          </p:cNvPicPr>
          <p:nvPr/>
        </p:nvPicPr>
        <p:blipFill>
          <a:blip r:embed="rId3" cstate="print"/>
          <a:srcRect/>
          <a:stretch>
            <a:fillRect/>
          </a:stretch>
        </p:blipFill>
        <p:spPr bwMode="auto">
          <a:xfrm>
            <a:off x="5994686" y="3366358"/>
            <a:ext cx="857256" cy="857256"/>
          </a:xfrm>
          <a:prstGeom prst="rect">
            <a:avLst/>
          </a:prstGeom>
          <a:noFill/>
        </p:spPr>
      </p:pic>
      <p:sp>
        <p:nvSpPr>
          <p:cNvPr id="68" name="Text Placeholder 32">
            <a:extLst>
              <a:ext uri="{FF2B5EF4-FFF2-40B4-BE49-F238E27FC236}">
                <a16:creationId xmlns:a16="http://schemas.microsoft.com/office/drawing/2014/main" id="{824E3F1F-BF3D-49FD-B66A-A4DBD088429C}"/>
              </a:ext>
            </a:extLst>
          </p:cNvPr>
          <p:cNvSpPr txBox="1">
            <a:spLocks/>
          </p:cNvSpPr>
          <p:nvPr/>
        </p:nvSpPr>
        <p:spPr>
          <a:xfrm>
            <a:off x="9566038" y="4830124"/>
            <a:ext cx="2674187" cy="138748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spcBef>
                <a:spcPts val="0"/>
              </a:spcBef>
              <a:buNone/>
            </a:pPr>
            <a:r>
              <a:rPr lang="fr-FR" sz="1400" b="1" dirty="0">
                <a:solidFill>
                  <a:schemeClr val="tx2"/>
                </a:solidFill>
                <a:latin typeface="Lato  "/>
              </a:rPr>
              <a:t>-8000 salariés directs, 30000 salariés indirects </a:t>
            </a:r>
          </a:p>
          <a:p>
            <a:pPr marL="0" indent="0">
              <a:lnSpc>
                <a:spcPct val="100000"/>
              </a:lnSpc>
              <a:spcBef>
                <a:spcPts val="0"/>
              </a:spcBef>
              <a:buNone/>
            </a:pPr>
            <a:r>
              <a:rPr lang="fr-FR" sz="1400" b="1" dirty="0">
                <a:solidFill>
                  <a:schemeClr val="tx2"/>
                </a:solidFill>
                <a:latin typeface="Lato  "/>
              </a:rPr>
              <a:t>-300 hectares</a:t>
            </a:r>
          </a:p>
          <a:p>
            <a:pPr marL="0" indent="0">
              <a:lnSpc>
                <a:spcPct val="100000"/>
              </a:lnSpc>
              <a:spcBef>
                <a:spcPts val="0"/>
              </a:spcBef>
              <a:buNone/>
            </a:pPr>
            <a:r>
              <a:rPr lang="fr-FR" sz="1400" b="1" dirty="0">
                <a:solidFill>
                  <a:schemeClr val="tx2"/>
                </a:solidFill>
                <a:latin typeface="Lato  "/>
              </a:rPr>
              <a:t>     </a:t>
            </a:r>
          </a:p>
          <a:p>
            <a:pPr marL="0" indent="0">
              <a:lnSpc>
                <a:spcPct val="100000"/>
              </a:lnSpc>
              <a:spcBef>
                <a:spcPts val="0"/>
              </a:spcBef>
              <a:buNone/>
            </a:pPr>
            <a:r>
              <a:rPr lang="fr-FR" sz="1400" b="1" dirty="0">
                <a:solidFill>
                  <a:schemeClr val="tx2"/>
                </a:solidFill>
                <a:latin typeface="Lato  "/>
              </a:rPr>
              <a:t>     </a:t>
            </a:r>
            <a:endParaRPr lang="it-IT" sz="1400" b="1" dirty="0">
              <a:solidFill>
                <a:schemeClr val="tx2"/>
              </a:solidFill>
              <a:latin typeface="Lato  "/>
            </a:endParaRPr>
          </a:p>
        </p:txBody>
      </p:sp>
      <p:grpSp>
        <p:nvGrpSpPr>
          <p:cNvPr id="40" name="Group 39">
            <a:extLst>
              <a:ext uri="{FF2B5EF4-FFF2-40B4-BE49-F238E27FC236}">
                <a16:creationId xmlns:a16="http://schemas.microsoft.com/office/drawing/2014/main" id="{644D9536-08A7-49B6-81C8-128FC0322723}"/>
              </a:ext>
            </a:extLst>
          </p:cNvPr>
          <p:cNvGrpSpPr/>
          <p:nvPr/>
        </p:nvGrpSpPr>
        <p:grpSpPr>
          <a:xfrm>
            <a:off x="70902" y="4241829"/>
            <a:ext cx="4475145" cy="2515031"/>
            <a:chOff x="-7641" y="4130347"/>
            <a:chExt cx="4475145" cy="2515031"/>
          </a:xfrm>
        </p:grpSpPr>
        <p:pic>
          <p:nvPicPr>
            <p:cNvPr id="22" name="Picture 21">
              <a:extLst>
                <a:ext uri="{FF2B5EF4-FFF2-40B4-BE49-F238E27FC236}">
                  <a16:creationId xmlns:a16="http://schemas.microsoft.com/office/drawing/2014/main" id="{A29A37D9-0A5F-4A60-93CB-40E1A5E5F13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41" y="4130347"/>
              <a:ext cx="4475145" cy="2515031"/>
            </a:xfrm>
            <a:prstGeom prst="rect">
              <a:avLst/>
            </a:prstGeom>
          </p:spPr>
        </p:pic>
        <p:sp>
          <p:nvSpPr>
            <p:cNvPr id="36" name="TextBox 35">
              <a:extLst>
                <a:ext uri="{FF2B5EF4-FFF2-40B4-BE49-F238E27FC236}">
                  <a16:creationId xmlns:a16="http://schemas.microsoft.com/office/drawing/2014/main" id="{8DD8263E-EDF6-4231-BBCE-AC3AA5AEEE96}"/>
                </a:ext>
              </a:extLst>
            </p:cNvPr>
            <p:cNvSpPr txBox="1"/>
            <p:nvPr/>
          </p:nvSpPr>
          <p:spPr>
            <a:xfrm>
              <a:off x="665619" y="5886479"/>
              <a:ext cx="1168582" cy="646331"/>
            </a:xfrm>
            <a:prstGeom prst="rect">
              <a:avLst/>
            </a:prstGeom>
            <a:noFill/>
          </p:spPr>
          <p:txBody>
            <a:bodyPr wrap="square" rtlCol="0">
              <a:spAutoFit/>
            </a:bodyPr>
            <a:lstStyle/>
            <a:p>
              <a:r>
                <a:rPr lang="fr-FR" b="1" dirty="0">
                  <a:latin typeface="Times New Roman" panose="02020603050405020304" pitchFamily="18" charset="0"/>
                  <a:cs typeface="Times New Roman" panose="02020603050405020304" pitchFamily="18" charset="0"/>
                </a:rPr>
                <a:t>Dokker </a:t>
              </a:r>
            </a:p>
            <a:p>
              <a:r>
                <a:rPr lang="fr-FR" b="1" dirty="0">
                  <a:latin typeface="Times New Roman" panose="02020603050405020304" pitchFamily="18" charset="0"/>
                  <a:cs typeface="Times New Roman" panose="02020603050405020304" pitchFamily="18" charset="0"/>
                </a:rPr>
                <a:t> (X67)</a:t>
              </a:r>
            </a:p>
          </p:txBody>
        </p:sp>
      </p:grpSp>
      <p:grpSp>
        <p:nvGrpSpPr>
          <p:cNvPr id="34" name="Group 33">
            <a:extLst>
              <a:ext uri="{FF2B5EF4-FFF2-40B4-BE49-F238E27FC236}">
                <a16:creationId xmlns:a16="http://schemas.microsoft.com/office/drawing/2014/main" id="{FFD883FE-954F-4004-8780-BA4439709953}"/>
              </a:ext>
            </a:extLst>
          </p:cNvPr>
          <p:cNvGrpSpPr/>
          <p:nvPr/>
        </p:nvGrpSpPr>
        <p:grpSpPr>
          <a:xfrm>
            <a:off x="-514638" y="4095186"/>
            <a:ext cx="5423357" cy="2711680"/>
            <a:chOff x="4246280" y="1884866"/>
            <a:chExt cx="5423357" cy="2711680"/>
          </a:xfrm>
        </p:grpSpPr>
        <p:pic>
          <p:nvPicPr>
            <p:cNvPr id="7" name="Picture 6">
              <a:extLst>
                <a:ext uri="{FF2B5EF4-FFF2-40B4-BE49-F238E27FC236}">
                  <a16:creationId xmlns:a16="http://schemas.microsoft.com/office/drawing/2014/main" id="{9CEF61F7-684E-4FBA-8E62-C0B9305907B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46280" y="1884866"/>
              <a:ext cx="5423357" cy="2711680"/>
            </a:xfrm>
            <a:prstGeom prst="rect">
              <a:avLst/>
            </a:prstGeom>
          </p:spPr>
        </p:pic>
        <p:sp>
          <p:nvSpPr>
            <p:cNvPr id="33" name="TextBox 32">
              <a:extLst>
                <a:ext uri="{FF2B5EF4-FFF2-40B4-BE49-F238E27FC236}">
                  <a16:creationId xmlns:a16="http://schemas.microsoft.com/office/drawing/2014/main" id="{6AE35284-EF0B-40A7-AB67-DE0BBB247E98}"/>
                </a:ext>
              </a:extLst>
            </p:cNvPr>
            <p:cNvSpPr txBox="1"/>
            <p:nvPr/>
          </p:nvSpPr>
          <p:spPr>
            <a:xfrm>
              <a:off x="5080391" y="3613761"/>
              <a:ext cx="1449091" cy="646331"/>
            </a:xfrm>
            <a:prstGeom prst="rect">
              <a:avLst/>
            </a:prstGeom>
            <a:noFill/>
          </p:spPr>
          <p:txBody>
            <a:bodyPr wrap="square" rtlCol="0">
              <a:spAutoFit/>
            </a:bodyPr>
            <a:lstStyle/>
            <a:p>
              <a:r>
                <a:rPr lang="fr-FR" b="1" dirty="0">
                  <a:latin typeface="Times New Roman" panose="02020603050405020304" pitchFamily="18" charset="0"/>
                  <a:cs typeface="Times New Roman" panose="02020603050405020304" pitchFamily="18" charset="0"/>
                </a:rPr>
                <a:t>Logan MCV</a:t>
              </a:r>
            </a:p>
            <a:p>
              <a:r>
                <a:rPr lang="fr-FR" b="1" dirty="0">
                  <a:latin typeface="Times New Roman" panose="02020603050405020304" pitchFamily="18" charset="0"/>
                  <a:cs typeface="Times New Roman" panose="02020603050405020304" pitchFamily="18" charset="0"/>
                </a:rPr>
                <a:t>     (K52)</a:t>
              </a:r>
            </a:p>
          </p:txBody>
        </p:sp>
      </p:grpSp>
      <p:grpSp>
        <p:nvGrpSpPr>
          <p:cNvPr id="38" name="Group 37">
            <a:extLst>
              <a:ext uri="{FF2B5EF4-FFF2-40B4-BE49-F238E27FC236}">
                <a16:creationId xmlns:a16="http://schemas.microsoft.com/office/drawing/2014/main" id="{54057C3A-4E9F-4004-BE8F-3FCA4AEA007C}"/>
              </a:ext>
            </a:extLst>
          </p:cNvPr>
          <p:cNvGrpSpPr/>
          <p:nvPr/>
        </p:nvGrpSpPr>
        <p:grpSpPr>
          <a:xfrm>
            <a:off x="193297" y="4241829"/>
            <a:ext cx="4595142" cy="2494506"/>
            <a:chOff x="7433611" y="772580"/>
            <a:chExt cx="4595142" cy="2494506"/>
          </a:xfrm>
        </p:grpSpPr>
        <p:pic>
          <p:nvPicPr>
            <p:cNvPr id="30" name="Picture 29">
              <a:extLst>
                <a:ext uri="{FF2B5EF4-FFF2-40B4-BE49-F238E27FC236}">
                  <a16:creationId xmlns:a16="http://schemas.microsoft.com/office/drawing/2014/main" id="{41408A6F-FBA9-4EC2-B774-5E403D003B6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33611" y="772580"/>
              <a:ext cx="4595142" cy="2494506"/>
            </a:xfrm>
            <a:prstGeom prst="rect">
              <a:avLst/>
            </a:prstGeom>
          </p:spPr>
        </p:pic>
        <p:sp>
          <p:nvSpPr>
            <p:cNvPr id="35" name="TextBox 34">
              <a:extLst>
                <a:ext uri="{FF2B5EF4-FFF2-40B4-BE49-F238E27FC236}">
                  <a16:creationId xmlns:a16="http://schemas.microsoft.com/office/drawing/2014/main" id="{F2B95D47-9F5F-4082-9E1D-E51B7F81DCCA}"/>
                </a:ext>
              </a:extLst>
            </p:cNvPr>
            <p:cNvSpPr txBox="1"/>
            <p:nvPr/>
          </p:nvSpPr>
          <p:spPr>
            <a:xfrm>
              <a:off x="8136055" y="2771544"/>
              <a:ext cx="1520901" cy="341632"/>
            </a:xfrm>
            <a:prstGeom prst="rect">
              <a:avLst/>
            </a:prstGeom>
            <a:noFill/>
          </p:spPr>
          <p:txBody>
            <a:bodyPr wrap="square" rtlCol="0">
              <a:spAutoFit/>
            </a:bodyPr>
            <a:lstStyle/>
            <a:p>
              <a:pPr>
                <a:lnSpc>
                  <a:spcPct val="90000"/>
                </a:lnSpc>
                <a:spcBef>
                  <a:spcPct val="0"/>
                </a:spcBef>
                <a:spcAft>
                  <a:spcPct val="35000"/>
                </a:spcAft>
              </a:pPr>
              <a:r>
                <a:rPr lang="fr-FR" b="1" dirty="0">
                  <a:latin typeface="Times New Roman" panose="02020603050405020304" pitchFamily="18" charset="0"/>
                  <a:cs typeface="Times New Roman" panose="02020603050405020304" pitchFamily="18" charset="0"/>
                </a:rPr>
                <a:t>Lodgy (j92)</a:t>
              </a:r>
            </a:p>
          </p:txBody>
        </p:sp>
      </p:grpSp>
      <p:grpSp>
        <p:nvGrpSpPr>
          <p:cNvPr id="39" name="Group 38">
            <a:extLst>
              <a:ext uri="{FF2B5EF4-FFF2-40B4-BE49-F238E27FC236}">
                <a16:creationId xmlns:a16="http://schemas.microsoft.com/office/drawing/2014/main" id="{0441C27B-3F20-49E8-8648-752765F5532C}"/>
              </a:ext>
            </a:extLst>
          </p:cNvPr>
          <p:cNvGrpSpPr/>
          <p:nvPr/>
        </p:nvGrpSpPr>
        <p:grpSpPr>
          <a:xfrm>
            <a:off x="-175715" y="4230429"/>
            <a:ext cx="5288578" cy="2596186"/>
            <a:chOff x="4767259" y="3371140"/>
            <a:chExt cx="5288578" cy="2596186"/>
          </a:xfrm>
        </p:grpSpPr>
        <p:pic>
          <p:nvPicPr>
            <p:cNvPr id="32" name="Picture 31">
              <a:extLst>
                <a:ext uri="{FF2B5EF4-FFF2-40B4-BE49-F238E27FC236}">
                  <a16:creationId xmlns:a16="http://schemas.microsoft.com/office/drawing/2014/main" id="{846A99E2-1881-4129-8FD9-A1C3858BF6B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41248" y="3371140"/>
              <a:ext cx="4814589" cy="2444330"/>
            </a:xfrm>
            <a:prstGeom prst="rect">
              <a:avLst/>
            </a:prstGeom>
          </p:spPr>
        </p:pic>
        <p:sp>
          <p:nvSpPr>
            <p:cNvPr id="37" name="TextBox 36">
              <a:extLst>
                <a:ext uri="{FF2B5EF4-FFF2-40B4-BE49-F238E27FC236}">
                  <a16:creationId xmlns:a16="http://schemas.microsoft.com/office/drawing/2014/main" id="{91DC1200-23F4-42BC-96E8-88044D96FBCC}"/>
                </a:ext>
              </a:extLst>
            </p:cNvPr>
            <p:cNvSpPr txBox="1"/>
            <p:nvPr/>
          </p:nvSpPr>
          <p:spPr>
            <a:xfrm>
              <a:off x="4767259" y="5320995"/>
              <a:ext cx="2425555" cy="646331"/>
            </a:xfrm>
            <a:prstGeom prst="rect">
              <a:avLst/>
            </a:prstGeom>
            <a:noFill/>
          </p:spPr>
          <p:txBody>
            <a:bodyPr wrap="square" rtlCol="0">
              <a:spAutoFit/>
            </a:bodyPr>
            <a:lstStyle/>
            <a:p>
              <a:pPr algn="ctr"/>
              <a:r>
                <a:rPr lang="fr-FR" dirty="0">
                  <a:solidFill>
                    <a:srgbClr val="FF0000"/>
                  </a:solidFill>
                </a:rPr>
                <a:t>S</a:t>
              </a:r>
              <a:r>
                <a:rPr lang="fr-FR" b="1" dirty="0">
                  <a:solidFill>
                    <a:srgbClr val="FF0000"/>
                  </a:solidFill>
                  <a:latin typeface="Times New Roman" panose="02020603050405020304" pitchFamily="18" charset="0"/>
                  <a:cs typeface="Times New Roman" panose="02020603050405020304" pitchFamily="18" charset="0"/>
                </a:rPr>
                <a:t>andero Stepway                 (B52)</a:t>
              </a:r>
            </a:p>
          </p:txBody>
        </p:sp>
      </p:grpSp>
    </p:spTree>
    <p:extLst>
      <p:ext uri="{BB962C8B-B14F-4D97-AF65-F5344CB8AC3E}">
        <p14:creationId xmlns:p14="http://schemas.microsoft.com/office/powerpoint/2010/main" val="4251104254"/>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54"/>
                                        </p:tgtEl>
                                      </p:cBhvr>
                                    </p:animEffect>
                                    <p:animScale>
                                      <p:cBhvr>
                                        <p:cTn id="7" dur="250" autoRev="1" fill="hold"/>
                                        <p:tgtEl>
                                          <p:spTgt spid="54"/>
                                        </p:tgtEl>
                                      </p:cBhvr>
                                      <p:by x="105000" y="105000"/>
                                    </p:animScale>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par>
                                <p:cTn id="12" presetID="10" presetClass="entr" presetSubtype="0" fill="hold" nodeType="with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par>
                                <p:cTn id="15" presetID="10" presetClass="entr" presetSubtype="0" fill="hold" nodeType="withEffect">
                                  <p:stCondLst>
                                    <p:cond delay="0"/>
                                  </p:stCondLst>
                                  <p:childTnLst>
                                    <p:set>
                                      <p:cBhvr>
                                        <p:cTn id="16" dur="1" fill="hold">
                                          <p:stCondLst>
                                            <p:cond delay="0"/>
                                          </p:stCondLst>
                                        </p:cTn>
                                        <p:tgtEl>
                                          <p:spTgt spid="60"/>
                                        </p:tgtEl>
                                        <p:attrNameLst>
                                          <p:attrName>style.visibility</p:attrName>
                                        </p:attrNameLst>
                                      </p:cBhvr>
                                      <p:to>
                                        <p:strVal val="visible"/>
                                      </p:to>
                                    </p:set>
                                    <p:animEffect transition="in" filter="fade">
                                      <p:cBhvr>
                                        <p:cTn id="17" dur="500"/>
                                        <p:tgtEl>
                                          <p:spTgt spid="60"/>
                                        </p:tgtEl>
                                      </p:cBhvr>
                                    </p:animEffect>
                                  </p:childTnLst>
                                </p:cTn>
                              </p:par>
                            </p:childTnLst>
                          </p:cTn>
                        </p:par>
                        <p:par>
                          <p:cTn id="18" fill="hold">
                            <p:stCondLst>
                              <p:cond delay="1000"/>
                            </p:stCondLst>
                            <p:childTnLst>
                              <p:par>
                                <p:cTn id="19" presetID="32" presetClass="emph" presetSubtype="0" fill="hold" nodeType="afterEffect">
                                  <p:stCondLst>
                                    <p:cond delay="0"/>
                                  </p:stCondLst>
                                  <p:childTnLst>
                                    <p:animRot by="120000">
                                      <p:cBhvr>
                                        <p:cTn id="20" dur="100" fill="hold">
                                          <p:stCondLst>
                                            <p:cond delay="0"/>
                                          </p:stCondLst>
                                        </p:cTn>
                                        <p:tgtEl>
                                          <p:spTgt spid="29"/>
                                        </p:tgtEl>
                                        <p:attrNameLst>
                                          <p:attrName>r</p:attrName>
                                        </p:attrNameLst>
                                      </p:cBhvr>
                                    </p:animRot>
                                    <p:animRot by="-240000">
                                      <p:cBhvr>
                                        <p:cTn id="21" dur="200" fill="hold">
                                          <p:stCondLst>
                                            <p:cond delay="200"/>
                                          </p:stCondLst>
                                        </p:cTn>
                                        <p:tgtEl>
                                          <p:spTgt spid="29"/>
                                        </p:tgtEl>
                                        <p:attrNameLst>
                                          <p:attrName>r</p:attrName>
                                        </p:attrNameLst>
                                      </p:cBhvr>
                                    </p:animRot>
                                    <p:animRot by="240000">
                                      <p:cBhvr>
                                        <p:cTn id="22" dur="200" fill="hold">
                                          <p:stCondLst>
                                            <p:cond delay="400"/>
                                          </p:stCondLst>
                                        </p:cTn>
                                        <p:tgtEl>
                                          <p:spTgt spid="29"/>
                                        </p:tgtEl>
                                        <p:attrNameLst>
                                          <p:attrName>r</p:attrName>
                                        </p:attrNameLst>
                                      </p:cBhvr>
                                    </p:animRot>
                                    <p:animRot by="-240000">
                                      <p:cBhvr>
                                        <p:cTn id="23" dur="200" fill="hold">
                                          <p:stCondLst>
                                            <p:cond delay="600"/>
                                          </p:stCondLst>
                                        </p:cTn>
                                        <p:tgtEl>
                                          <p:spTgt spid="29"/>
                                        </p:tgtEl>
                                        <p:attrNameLst>
                                          <p:attrName>r</p:attrName>
                                        </p:attrNameLst>
                                      </p:cBhvr>
                                    </p:animRot>
                                    <p:animRot by="120000">
                                      <p:cBhvr>
                                        <p:cTn id="24" dur="200" fill="hold">
                                          <p:stCondLst>
                                            <p:cond delay="800"/>
                                          </p:stCondLst>
                                        </p:cTn>
                                        <p:tgtEl>
                                          <p:spTgt spid="29"/>
                                        </p:tgtEl>
                                        <p:attrNameLst>
                                          <p:attrName>r</p:attrName>
                                        </p:attrNameLst>
                                      </p:cBhvr>
                                    </p:animRot>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63"/>
                                        </p:tgtEl>
                                        <p:attrNameLst>
                                          <p:attrName>style.visibility</p:attrName>
                                        </p:attrNameLst>
                                      </p:cBhvr>
                                      <p:to>
                                        <p:strVal val="visible"/>
                                      </p:to>
                                    </p:set>
                                    <p:anim calcmode="lin" valueType="num">
                                      <p:cBhvr additive="base">
                                        <p:cTn id="29" dur="500" fill="hold"/>
                                        <p:tgtEl>
                                          <p:spTgt spid="63"/>
                                        </p:tgtEl>
                                        <p:attrNameLst>
                                          <p:attrName>ppt_x</p:attrName>
                                        </p:attrNameLst>
                                      </p:cBhvr>
                                      <p:tavLst>
                                        <p:tav tm="0">
                                          <p:val>
                                            <p:strVal val="0-#ppt_w/2"/>
                                          </p:val>
                                        </p:tav>
                                        <p:tav tm="100000">
                                          <p:val>
                                            <p:strVal val="#ppt_x"/>
                                          </p:val>
                                        </p:tav>
                                      </p:tavLst>
                                    </p:anim>
                                    <p:anim calcmode="lin" valueType="num">
                                      <p:cBhvr additive="base">
                                        <p:cTn id="30" dur="500" fill="hold"/>
                                        <p:tgtEl>
                                          <p:spTgt spid="63"/>
                                        </p:tgtEl>
                                        <p:attrNameLst>
                                          <p:attrName>ppt_y</p:attrName>
                                        </p:attrNameLst>
                                      </p:cBhvr>
                                      <p:tavLst>
                                        <p:tav tm="0">
                                          <p:val>
                                            <p:strVal val="#ppt_y"/>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250"/>
                                        <p:tgtEl>
                                          <p:spTgt spid="51"/>
                                        </p:tgtEl>
                                      </p:cBhvr>
                                    </p:animEffect>
                                    <p:anim calcmode="lin" valueType="num">
                                      <p:cBhvr>
                                        <p:cTn id="34" dur="250" fill="hold"/>
                                        <p:tgtEl>
                                          <p:spTgt spid="51"/>
                                        </p:tgtEl>
                                        <p:attrNameLst>
                                          <p:attrName>ppt_x</p:attrName>
                                        </p:attrNameLst>
                                      </p:cBhvr>
                                      <p:tavLst>
                                        <p:tav tm="0">
                                          <p:val>
                                            <p:strVal val="#ppt_x"/>
                                          </p:val>
                                        </p:tav>
                                        <p:tav tm="100000">
                                          <p:val>
                                            <p:strVal val="#ppt_x"/>
                                          </p:val>
                                        </p:tav>
                                      </p:tavLst>
                                    </p:anim>
                                    <p:anim calcmode="lin" valueType="num">
                                      <p:cBhvr>
                                        <p:cTn id="35" dur="250" fill="hold"/>
                                        <p:tgtEl>
                                          <p:spTgt spid="51"/>
                                        </p:tgtEl>
                                        <p:attrNameLst>
                                          <p:attrName>ppt_y</p:attrName>
                                        </p:attrNameLst>
                                      </p:cBhvr>
                                      <p:tavLst>
                                        <p:tav tm="0">
                                          <p:val>
                                            <p:strVal val="#ppt_y+.1"/>
                                          </p:val>
                                        </p:tav>
                                        <p:tav tm="100000">
                                          <p:val>
                                            <p:strVal val="#ppt_y"/>
                                          </p:val>
                                        </p:tav>
                                      </p:tavLst>
                                    </p:anim>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996"/>
                                        </p:tgtEl>
                                        <p:attrNameLst>
                                          <p:attrName>style.visibility</p:attrName>
                                        </p:attrNameLst>
                                      </p:cBhvr>
                                      <p:to>
                                        <p:strVal val="visible"/>
                                      </p:to>
                                    </p:set>
                                    <p:animEffect transition="in" filter="fade">
                                      <p:cBhvr>
                                        <p:cTn id="39" dur="250"/>
                                        <p:tgtEl>
                                          <p:spTgt spid="996"/>
                                        </p:tgtEl>
                                      </p:cBhvr>
                                    </p:animEffect>
                                  </p:childTnLst>
                                </p:cTn>
                              </p:par>
                            </p:childTnLst>
                          </p:cTn>
                        </p:par>
                        <p:par>
                          <p:cTn id="40" fill="hold">
                            <p:stCondLst>
                              <p:cond delay="750"/>
                            </p:stCondLst>
                            <p:childTnLst>
                              <p:par>
                                <p:cTn id="41" presetID="10" presetClass="entr" presetSubtype="0" fill="hold" grpId="0" nodeType="afterEffect">
                                  <p:stCondLst>
                                    <p:cond delay="0"/>
                                  </p:stCondLst>
                                  <p:childTnLst>
                                    <p:set>
                                      <p:cBhvr>
                                        <p:cTn id="42" dur="1" fill="hold">
                                          <p:stCondLst>
                                            <p:cond delay="0"/>
                                          </p:stCondLst>
                                        </p:cTn>
                                        <p:tgtEl>
                                          <p:spTgt spid="995"/>
                                        </p:tgtEl>
                                        <p:attrNameLst>
                                          <p:attrName>style.visibility</p:attrName>
                                        </p:attrNameLst>
                                      </p:cBhvr>
                                      <p:to>
                                        <p:strVal val="visible"/>
                                      </p:to>
                                    </p:set>
                                    <p:animEffect transition="in" filter="fade">
                                      <p:cBhvr>
                                        <p:cTn id="43" dur="250"/>
                                        <p:tgtEl>
                                          <p:spTgt spid="995"/>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994"/>
                                        </p:tgtEl>
                                        <p:attrNameLst>
                                          <p:attrName>style.visibility</p:attrName>
                                        </p:attrNameLst>
                                      </p:cBhvr>
                                      <p:to>
                                        <p:strVal val="visible"/>
                                      </p:to>
                                    </p:set>
                                    <p:animEffect transition="in" filter="fade">
                                      <p:cBhvr>
                                        <p:cTn id="47" dur="250"/>
                                        <p:tgtEl>
                                          <p:spTgt spid="994"/>
                                        </p:tgtEl>
                                      </p:cBhvr>
                                    </p:animEffect>
                                  </p:childTnLst>
                                </p:cTn>
                              </p:par>
                            </p:childTnLst>
                          </p:cTn>
                        </p:par>
                        <p:par>
                          <p:cTn id="48" fill="hold">
                            <p:stCondLst>
                              <p:cond delay="1250"/>
                            </p:stCondLst>
                            <p:childTnLst>
                              <p:par>
                                <p:cTn id="49" presetID="10" presetClass="entr" presetSubtype="0" fill="hold" grpId="0" nodeType="afterEffect">
                                  <p:stCondLst>
                                    <p:cond delay="0"/>
                                  </p:stCondLst>
                                  <p:childTnLst>
                                    <p:set>
                                      <p:cBhvr>
                                        <p:cTn id="50" dur="1" fill="hold">
                                          <p:stCondLst>
                                            <p:cond delay="0"/>
                                          </p:stCondLst>
                                        </p:cTn>
                                        <p:tgtEl>
                                          <p:spTgt spid="997"/>
                                        </p:tgtEl>
                                        <p:attrNameLst>
                                          <p:attrName>style.visibility</p:attrName>
                                        </p:attrNameLst>
                                      </p:cBhvr>
                                      <p:to>
                                        <p:strVal val="visible"/>
                                      </p:to>
                                    </p:set>
                                    <p:animEffect transition="in" filter="fade">
                                      <p:cBhvr>
                                        <p:cTn id="51" dur="250"/>
                                        <p:tgtEl>
                                          <p:spTgt spid="997"/>
                                        </p:tgtEl>
                                      </p:cBhvr>
                                    </p:animEffect>
                                  </p:childTnLst>
                                </p:cTn>
                              </p:par>
                            </p:childTnLst>
                          </p:cTn>
                        </p:par>
                      </p:childTnLst>
                    </p:cTn>
                  </p:par>
                  <p:par>
                    <p:cTn id="52" fill="hold">
                      <p:stCondLst>
                        <p:cond delay="indefinite"/>
                      </p:stCondLst>
                      <p:childTnLst>
                        <p:par>
                          <p:cTn id="53" fill="hold">
                            <p:stCondLst>
                              <p:cond delay="0"/>
                            </p:stCondLst>
                            <p:childTnLst>
                              <p:par>
                                <p:cTn id="54" presetID="49" presetClass="entr" presetSubtype="0" decel="100000" fill="hold" grpId="0" nodeType="clickEffect">
                                  <p:stCondLst>
                                    <p:cond delay="0"/>
                                  </p:stCondLst>
                                  <p:childTnLst>
                                    <p:set>
                                      <p:cBhvr>
                                        <p:cTn id="55" dur="1" fill="hold">
                                          <p:stCondLst>
                                            <p:cond delay="0"/>
                                          </p:stCondLst>
                                        </p:cTn>
                                        <p:tgtEl>
                                          <p:spTgt spid="998"/>
                                        </p:tgtEl>
                                        <p:attrNameLst>
                                          <p:attrName>style.visibility</p:attrName>
                                        </p:attrNameLst>
                                      </p:cBhvr>
                                      <p:to>
                                        <p:strVal val="visible"/>
                                      </p:to>
                                    </p:set>
                                    <p:anim calcmode="lin" valueType="num">
                                      <p:cBhvr>
                                        <p:cTn id="56" dur="500" fill="hold"/>
                                        <p:tgtEl>
                                          <p:spTgt spid="998"/>
                                        </p:tgtEl>
                                        <p:attrNameLst>
                                          <p:attrName>ppt_w</p:attrName>
                                        </p:attrNameLst>
                                      </p:cBhvr>
                                      <p:tavLst>
                                        <p:tav tm="0">
                                          <p:val>
                                            <p:fltVal val="0"/>
                                          </p:val>
                                        </p:tav>
                                        <p:tav tm="100000">
                                          <p:val>
                                            <p:strVal val="#ppt_w"/>
                                          </p:val>
                                        </p:tav>
                                      </p:tavLst>
                                    </p:anim>
                                    <p:anim calcmode="lin" valueType="num">
                                      <p:cBhvr>
                                        <p:cTn id="57" dur="500" fill="hold"/>
                                        <p:tgtEl>
                                          <p:spTgt spid="998"/>
                                        </p:tgtEl>
                                        <p:attrNameLst>
                                          <p:attrName>ppt_h</p:attrName>
                                        </p:attrNameLst>
                                      </p:cBhvr>
                                      <p:tavLst>
                                        <p:tav tm="0">
                                          <p:val>
                                            <p:fltVal val="0"/>
                                          </p:val>
                                        </p:tav>
                                        <p:tav tm="100000">
                                          <p:val>
                                            <p:strVal val="#ppt_h"/>
                                          </p:val>
                                        </p:tav>
                                      </p:tavLst>
                                    </p:anim>
                                    <p:anim calcmode="lin" valueType="num">
                                      <p:cBhvr>
                                        <p:cTn id="58" dur="500" fill="hold"/>
                                        <p:tgtEl>
                                          <p:spTgt spid="998"/>
                                        </p:tgtEl>
                                        <p:attrNameLst>
                                          <p:attrName>style.rotation</p:attrName>
                                        </p:attrNameLst>
                                      </p:cBhvr>
                                      <p:tavLst>
                                        <p:tav tm="0">
                                          <p:val>
                                            <p:fltVal val="360"/>
                                          </p:val>
                                        </p:tav>
                                        <p:tav tm="100000">
                                          <p:val>
                                            <p:fltVal val="0"/>
                                          </p:val>
                                        </p:tav>
                                      </p:tavLst>
                                    </p:anim>
                                    <p:animEffect transition="in" filter="fade">
                                      <p:cBhvr>
                                        <p:cTn id="59" dur="500"/>
                                        <p:tgtEl>
                                          <p:spTgt spid="998"/>
                                        </p:tgtEl>
                                      </p:cBhvr>
                                    </p:animEffect>
                                  </p:childTnLst>
                                </p:cTn>
                              </p:par>
                            </p:childTnLst>
                          </p:cTn>
                        </p:par>
                        <p:par>
                          <p:cTn id="60" fill="hold">
                            <p:stCondLst>
                              <p:cond delay="500"/>
                            </p:stCondLst>
                            <p:childTnLst>
                              <p:par>
                                <p:cTn id="61" presetID="10" presetClass="entr" presetSubtype="0" fill="hold" nodeType="afterEffect">
                                  <p:stCondLst>
                                    <p:cond delay="0"/>
                                  </p:stCondLst>
                                  <p:childTnLst>
                                    <p:set>
                                      <p:cBhvr>
                                        <p:cTn id="62" dur="1" fill="hold">
                                          <p:stCondLst>
                                            <p:cond delay="0"/>
                                          </p:stCondLst>
                                        </p:cTn>
                                        <p:tgtEl>
                                          <p:spTgt spid="1008"/>
                                        </p:tgtEl>
                                        <p:attrNameLst>
                                          <p:attrName>style.visibility</p:attrName>
                                        </p:attrNameLst>
                                      </p:cBhvr>
                                      <p:to>
                                        <p:strVal val="visible"/>
                                      </p:to>
                                    </p:set>
                                    <p:animEffect transition="in" filter="fade">
                                      <p:cBhvr>
                                        <p:cTn id="63" dur="250"/>
                                        <p:tgtEl>
                                          <p:spTgt spid="1008"/>
                                        </p:tgtEl>
                                      </p:cBhvr>
                                    </p:animEffect>
                                  </p:childTnLst>
                                </p:cTn>
                              </p:par>
                            </p:childTnLst>
                          </p:cTn>
                        </p:par>
                        <p:par>
                          <p:cTn id="64" fill="hold">
                            <p:stCondLst>
                              <p:cond delay="750"/>
                            </p:stCondLst>
                            <p:childTnLst>
                              <p:par>
                                <p:cTn id="65" presetID="22" presetClass="entr" presetSubtype="8" fill="hold" nodeType="afterEffect">
                                  <p:stCondLst>
                                    <p:cond delay="0"/>
                                  </p:stCondLst>
                                  <p:childTnLst>
                                    <p:set>
                                      <p:cBhvr>
                                        <p:cTn id="66" dur="1" fill="hold">
                                          <p:stCondLst>
                                            <p:cond delay="0"/>
                                          </p:stCondLst>
                                        </p:cTn>
                                        <p:tgtEl>
                                          <p:spTgt spid="10"/>
                                        </p:tgtEl>
                                        <p:attrNameLst>
                                          <p:attrName>style.visibility</p:attrName>
                                        </p:attrNameLst>
                                      </p:cBhvr>
                                      <p:to>
                                        <p:strVal val="visible"/>
                                      </p:to>
                                    </p:set>
                                    <p:animEffect transition="in" filter="wipe(left)">
                                      <p:cBhvr>
                                        <p:cTn id="67" dur="250"/>
                                        <p:tgtEl>
                                          <p:spTgt spid="10"/>
                                        </p:tgtEl>
                                      </p:cBhvr>
                                    </p:animEffect>
                                  </p:childTnLst>
                                </p:cTn>
                              </p:par>
                            </p:childTnLst>
                          </p:cTn>
                        </p:par>
                        <p:par>
                          <p:cTn id="68" fill="hold">
                            <p:stCondLst>
                              <p:cond delay="1000"/>
                            </p:stCondLst>
                            <p:childTnLst>
                              <p:par>
                                <p:cTn id="69" presetID="10" presetClass="entr" presetSubtype="0" fill="hold" grpId="0" nodeType="afterEffect">
                                  <p:stCondLst>
                                    <p:cond delay="0"/>
                                  </p:stCondLst>
                                  <p:childTnLst>
                                    <p:set>
                                      <p:cBhvr>
                                        <p:cTn id="70" dur="1" fill="hold">
                                          <p:stCondLst>
                                            <p:cond delay="0"/>
                                          </p:stCondLst>
                                        </p:cTn>
                                        <p:tgtEl>
                                          <p:spTgt spid="1004"/>
                                        </p:tgtEl>
                                        <p:attrNameLst>
                                          <p:attrName>style.visibility</p:attrName>
                                        </p:attrNameLst>
                                      </p:cBhvr>
                                      <p:to>
                                        <p:strVal val="visible"/>
                                      </p:to>
                                    </p:set>
                                    <p:animEffect transition="in" filter="fade">
                                      <p:cBhvr>
                                        <p:cTn id="71" dur="250"/>
                                        <p:tgtEl>
                                          <p:spTgt spid="1004"/>
                                        </p:tgtEl>
                                      </p:cBhvr>
                                    </p:animEffect>
                                  </p:childTnLst>
                                </p:cTn>
                              </p:par>
                            </p:childTnLst>
                          </p:cTn>
                        </p:par>
                        <p:par>
                          <p:cTn id="72" fill="hold">
                            <p:stCondLst>
                              <p:cond delay="1250"/>
                            </p:stCondLst>
                            <p:childTnLst>
                              <p:par>
                                <p:cTn id="73" presetID="10" presetClass="entr" presetSubtype="0" fill="hold" grpId="0" nodeType="afterEffect">
                                  <p:stCondLst>
                                    <p:cond delay="0"/>
                                  </p:stCondLst>
                                  <p:childTnLst>
                                    <p:set>
                                      <p:cBhvr>
                                        <p:cTn id="74" dur="1" fill="hold">
                                          <p:stCondLst>
                                            <p:cond delay="0"/>
                                          </p:stCondLst>
                                        </p:cTn>
                                        <p:tgtEl>
                                          <p:spTgt spid="1003">
                                            <p:txEl>
                                              <p:pRg st="0" end="0"/>
                                            </p:txEl>
                                          </p:spTgt>
                                        </p:tgtEl>
                                        <p:attrNameLst>
                                          <p:attrName>style.visibility</p:attrName>
                                        </p:attrNameLst>
                                      </p:cBhvr>
                                      <p:to>
                                        <p:strVal val="visible"/>
                                      </p:to>
                                    </p:set>
                                    <p:animEffect transition="in" filter="fade">
                                      <p:cBhvr>
                                        <p:cTn id="75" dur="500"/>
                                        <p:tgtEl>
                                          <p:spTgt spid="1003">
                                            <p:txEl>
                                              <p:pRg st="0" end="0"/>
                                            </p:txEl>
                                          </p:spTgt>
                                        </p:tgtEl>
                                      </p:cBhvr>
                                    </p:animEffect>
                                  </p:childTnLst>
                                </p:cTn>
                              </p:par>
                            </p:childTnLst>
                          </p:cTn>
                        </p:par>
                      </p:childTnLst>
                    </p:cTn>
                  </p:par>
                  <p:par>
                    <p:cTn id="76" fill="hold">
                      <p:stCondLst>
                        <p:cond delay="indefinite"/>
                      </p:stCondLst>
                      <p:childTnLst>
                        <p:par>
                          <p:cTn id="77" fill="hold">
                            <p:stCondLst>
                              <p:cond delay="0"/>
                            </p:stCondLst>
                            <p:childTnLst>
                              <p:par>
                                <p:cTn id="78" presetID="49" presetClass="entr" presetSubtype="0" decel="100000" fill="hold" grpId="0" nodeType="clickEffect">
                                  <p:stCondLst>
                                    <p:cond delay="0"/>
                                  </p:stCondLst>
                                  <p:childTnLst>
                                    <p:set>
                                      <p:cBhvr>
                                        <p:cTn id="79" dur="1" fill="hold">
                                          <p:stCondLst>
                                            <p:cond delay="0"/>
                                          </p:stCondLst>
                                        </p:cTn>
                                        <p:tgtEl>
                                          <p:spTgt spid="999"/>
                                        </p:tgtEl>
                                        <p:attrNameLst>
                                          <p:attrName>style.visibility</p:attrName>
                                        </p:attrNameLst>
                                      </p:cBhvr>
                                      <p:to>
                                        <p:strVal val="visible"/>
                                      </p:to>
                                    </p:set>
                                    <p:anim calcmode="lin" valueType="num">
                                      <p:cBhvr>
                                        <p:cTn id="80" dur="500" fill="hold"/>
                                        <p:tgtEl>
                                          <p:spTgt spid="999"/>
                                        </p:tgtEl>
                                        <p:attrNameLst>
                                          <p:attrName>ppt_w</p:attrName>
                                        </p:attrNameLst>
                                      </p:cBhvr>
                                      <p:tavLst>
                                        <p:tav tm="0">
                                          <p:val>
                                            <p:fltVal val="0"/>
                                          </p:val>
                                        </p:tav>
                                        <p:tav tm="100000">
                                          <p:val>
                                            <p:strVal val="#ppt_w"/>
                                          </p:val>
                                        </p:tav>
                                      </p:tavLst>
                                    </p:anim>
                                    <p:anim calcmode="lin" valueType="num">
                                      <p:cBhvr>
                                        <p:cTn id="81" dur="500" fill="hold"/>
                                        <p:tgtEl>
                                          <p:spTgt spid="999"/>
                                        </p:tgtEl>
                                        <p:attrNameLst>
                                          <p:attrName>ppt_h</p:attrName>
                                        </p:attrNameLst>
                                      </p:cBhvr>
                                      <p:tavLst>
                                        <p:tav tm="0">
                                          <p:val>
                                            <p:fltVal val="0"/>
                                          </p:val>
                                        </p:tav>
                                        <p:tav tm="100000">
                                          <p:val>
                                            <p:strVal val="#ppt_h"/>
                                          </p:val>
                                        </p:tav>
                                      </p:tavLst>
                                    </p:anim>
                                    <p:anim calcmode="lin" valueType="num">
                                      <p:cBhvr>
                                        <p:cTn id="82" dur="500" fill="hold"/>
                                        <p:tgtEl>
                                          <p:spTgt spid="999"/>
                                        </p:tgtEl>
                                        <p:attrNameLst>
                                          <p:attrName>style.rotation</p:attrName>
                                        </p:attrNameLst>
                                      </p:cBhvr>
                                      <p:tavLst>
                                        <p:tav tm="0">
                                          <p:val>
                                            <p:fltVal val="360"/>
                                          </p:val>
                                        </p:tav>
                                        <p:tav tm="100000">
                                          <p:val>
                                            <p:fltVal val="0"/>
                                          </p:val>
                                        </p:tav>
                                      </p:tavLst>
                                    </p:anim>
                                    <p:animEffect transition="in" filter="fade">
                                      <p:cBhvr>
                                        <p:cTn id="83" dur="500"/>
                                        <p:tgtEl>
                                          <p:spTgt spid="999"/>
                                        </p:tgtEl>
                                      </p:cBhvr>
                                    </p:animEffect>
                                  </p:childTnLst>
                                </p:cTn>
                              </p:par>
                            </p:childTnLst>
                          </p:cTn>
                        </p:par>
                        <p:par>
                          <p:cTn id="84" fill="hold">
                            <p:stCondLst>
                              <p:cond delay="500"/>
                            </p:stCondLst>
                            <p:childTnLst>
                              <p:par>
                                <p:cTn id="85" presetID="10" presetClass="entr" presetSubtype="0" fill="hold" nodeType="afterEffect">
                                  <p:stCondLst>
                                    <p:cond delay="0"/>
                                  </p:stCondLst>
                                  <p:childTnLst>
                                    <p:set>
                                      <p:cBhvr>
                                        <p:cTn id="86" dur="1" fill="hold">
                                          <p:stCondLst>
                                            <p:cond delay="0"/>
                                          </p:stCondLst>
                                        </p:cTn>
                                        <p:tgtEl>
                                          <p:spTgt spid="1009"/>
                                        </p:tgtEl>
                                        <p:attrNameLst>
                                          <p:attrName>style.visibility</p:attrName>
                                        </p:attrNameLst>
                                      </p:cBhvr>
                                      <p:to>
                                        <p:strVal val="visible"/>
                                      </p:to>
                                    </p:set>
                                    <p:animEffect transition="in" filter="fade">
                                      <p:cBhvr>
                                        <p:cTn id="87" dur="250"/>
                                        <p:tgtEl>
                                          <p:spTgt spid="1009"/>
                                        </p:tgtEl>
                                      </p:cBhvr>
                                    </p:animEffect>
                                  </p:childTnLst>
                                </p:cTn>
                              </p:par>
                            </p:childTnLst>
                          </p:cTn>
                        </p:par>
                        <p:par>
                          <p:cTn id="88" fill="hold">
                            <p:stCondLst>
                              <p:cond delay="750"/>
                            </p:stCondLst>
                            <p:childTnLst>
                              <p:par>
                                <p:cTn id="89" presetID="22" presetClass="entr" presetSubtype="8" fill="hold" nodeType="afterEffect">
                                  <p:stCondLst>
                                    <p:cond delay="0"/>
                                  </p:stCondLst>
                                  <p:childTnLst>
                                    <p:set>
                                      <p:cBhvr>
                                        <p:cTn id="90" dur="1" fill="hold">
                                          <p:stCondLst>
                                            <p:cond delay="0"/>
                                          </p:stCondLst>
                                        </p:cTn>
                                        <p:tgtEl>
                                          <p:spTgt spid="11"/>
                                        </p:tgtEl>
                                        <p:attrNameLst>
                                          <p:attrName>style.visibility</p:attrName>
                                        </p:attrNameLst>
                                      </p:cBhvr>
                                      <p:to>
                                        <p:strVal val="visible"/>
                                      </p:to>
                                    </p:set>
                                    <p:animEffect transition="in" filter="wipe(left)">
                                      <p:cBhvr>
                                        <p:cTn id="91" dur="250"/>
                                        <p:tgtEl>
                                          <p:spTgt spid="11"/>
                                        </p:tgtEl>
                                      </p:cBhvr>
                                    </p:animEffect>
                                  </p:childTnLst>
                                </p:cTn>
                              </p:par>
                            </p:childTnLst>
                          </p:cTn>
                        </p:par>
                        <p:par>
                          <p:cTn id="92" fill="hold">
                            <p:stCondLst>
                              <p:cond delay="1000"/>
                            </p:stCondLst>
                            <p:childTnLst>
                              <p:par>
                                <p:cTn id="93" presetID="10" presetClass="entr" presetSubtype="0" fill="hold" grpId="0" nodeType="afterEffect">
                                  <p:stCondLst>
                                    <p:cond delay="0"/>
                                  </p:stCondLst>
                                  <p:childTnLst>
                                    <p:set>
                                      <p:cBhvr>
                                        <p:cTn id="94" dur="1" fill="hold">
                                          <p:stCondLst>
                                            <p:cond delay="0"/>
                                          </p:stCondLst>
                                        </p:cTn>
                                        <p:tgtEl>
                                          <p:spTgt spid="1007"/>
                                        </p:tgtEl>
                                        <p:attrNameLst>
                                          <p:attrName>style.visibility</p:attrName>
                                        </p:attrNameLst>
                                      </p:cBhvr>
                                      <p:to>
                                        <p:strVal val="visible"/>
                                      </p:to>
                                    </p:set>
                                    <p:animEffect transition="in" filter="fade">
                                      <p:cBhvr>
                                        <p:cTn id="95" dur="250"/>
                                        <p:tgtEl>
                                          <p:spTgt spid="1007"/>
                                        </p:tgtEl>
                                      </p:cBhvr>
                                    </p:animEffect>
                                  </p:childTnLst>
                                </p:cTn>
                              </p:par>
                            </p:childTnLst>
                          </p:cTn>
                        </p:par>
                        <p:par>
                          <p:cTn id="96" fill="hold">
                            <p:stCondLst>
                              <p:cond delay="1250"/>
                            </p:stCondLst>
                            <p:childTnLst>
                              <p:par>
                                <p:cTn id="97" presetID="10" presetClass="entr" presetSubtype="0" fill="hold" grpId="0" nodeType="afterEffect">
                                  <p:stCondLst>
                                    <p:cond delay="0"/>
                                  </p:stCondLst>
                                  <p:childTnLst>
                                    <p:set>
                                      <p:cBhvr>
                                        <p:cTn id="98" dur="1" fill="hold">
                                          <p:stCondLst>
                                            <p:cond delay="0"/>
                                          </p:stCondLst>
                                        </p:cTn>
                                        <p:tgtEl>
                                          <p:spTgt spid="68">
                                            <p:txEl>
                                              <p:pRg st="0" end="0"/>
                                            </p:txEl>
                                          </p:spTgt>
                                        </p:tgtEl>
                                        <p:attrNameLst>
                                          <p:attrName>style.visibility</p:attrName>
                                        </p:attrNameLst>
                                      </p:cBhvr>
                                      <p:to>
                                        <p:strVal val="visible"/>
                                      </p:to>
                                    </p:set>
                                    <p:animEffect transition="in" filter="fade">
                                      <p:cBhvr>
                                        <p:cTn id="99" dur="500"/>
                                        <p:tgtEl>
                                          <p:spTgt spid="68">
                                            <p:txEl>
                                              <p:pRg st="0" end="0"/>
                                            </p:txEl>
                                          </p:spTgt>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68">
                                            <p:txEl>
                                              <p:pRg st="1" end="1"/>
                                            </p:txEl>
                                          </p:spTgt>
                                        </p:tgtEl>
                                        <p:attrNameLst>
                                          <p:attrName>style.visibility</p:attrName>
                                        </p:attrNameLst>
                                      </p:cBhvr>
                                      <p:to>
                                        <p:strVal val="visible"/>
                                      </p:to>
                                    </p:set>
                                    <p:animEffect transition="in" filter="fade">
                                      <p:cBhvr>
                                        <p:cTn id="104" dur="500"/>
                                        <p:tgtEl>
                                          <p:spTgt spid="68">
                                            <p:txEl>
                                              <p:pRg st="1" end="1"/>
                                            </p:txEl>
                                          </p:spTgt>
                                        </p:tgtEl>
                                      </p:cBhvr>
                                    </p:animEffect>
                                  </p:childTnLst>
                                </p:cTn>
                              </p:par>
                            </p:childTnLst>
                          </p:cTn>
                        </p:par>
                      </p:childTnLst>
                    </p:cTn>
                  </p:par>
                  <p:par>
                    <p:cTn id="105" fill="hold">
                      <p:stCondLst>
                        <p:cond delay="indefinite"/>
                      </p:stCondLst>
                      <p:childTnLst>
                        <p:par>
                          <p:cTn id="106" fill="hold">
                            <p:stCondLst>
                              <p:cond delay="0"/>
                            </p:stCondLst>
                            <p:childTnLst>
                              <p:par>
                                <p:cTn id="107" presetID="49" presetClass="entr" presetSubtype="0" decel="100000" fill="hold" grpId="0" nodeType="clickEffect">
                                  <p:stCondLst>
                                    <p:cond delay="0"/>
                                  </p:stCondLst>
                                  <p:childTnLst>
                                    <p:set>
                                      <p:cBhvr>
                                        <p:cTn id="108" dur="1" fill="hold">
                                          <p:stCondLst>
                                            <p:cond delay="0"/>
                                          </p:stCondLst>
                                        </p:cTn>
                                        <p:tgtEl>
                                          <p:spTgt spid="1000"/>
                                        </p:tgtEl>
                                        <p:attrNameLst>
                                          <p:attrName>style.visibility</p:attrName>
                                        </p:attrNameLst>
                                      </p:cBhvr>
                                      <p:to>
                                        <p:strVal val="visible"/>
                                      </p:to>
                                    </p:set>
                                    <p:anim calcmode="lin" valueType="num">
                                      <p:cBhvr>
                                        <p:cTn id="109" dur="500" fill="hold"/>
                                        <p:tgtEl>
                                          <p:spTgt spid="1000"/>
                                        </p:tgtEl>
                                        <p:attrNameLst>
                                          <p:attrName>ppt_w</p:attrName>
                                        </p:attrNameLst>
                                      </p:cBhvr>
                                      <p:tavLst>
                                        <p:tav tm="0">
                                          <p:val>
                                            <p:fltVal val="0"/>
                                          </p:val>
                                        </p:tav>
                                        <p:tav tm="100000">
                                          <p:val>
                                            <p:strVal val="#ppt_w"/>
                                          </p:val>
                                        </p:tav>
                                      </p:tavLst>
                                    </p:anim>
                                    <p:anim calcmode="lin" valueType="num">
                                      <p:cBhvr>
                                        <p:cTn id="110" dur="500" fill="hold"/>
                                        <p:tgtEl>
                                          <p:spTgt spid="1000"/>
                                        </p:tgtEl>
                                        <p:attrNameLst>
                                          <p:attrName>ppt_h</p:attrName>
                                        </p:attrNameLst>
                                      </p:cBhvr>
                                      <p:tavLst>
                                        <p:tav tm="0">
                                          <p:val>
                                            <p:fltVal val="0"/>
                                          </p:val>
                                        </p:tav>
                                        <p:tav tm="100000">
                                          <p:val>
                                            <p:strVal val="#ppt_h"/>
                                          </p:val>
                                        </p:tav>
                                      </p:tavLst>
                                    </p:anim>
                                    <p:anim calcmode="lin" valueType="num">
                                      <p:cBhvr>
                                        <p:cTn id="111" dur="500" fill="hold"/>
                                        <p:tgtEl>
                                          <p:spTgt spid="1000"/>
                                        </p:tgtEl>
                                        <p:attrNameLst>
                                          <p:attrName>style.rotation</p:attrName>
                                        </p:attrNameLst>
                                      </p:cBhvr>
                                      <p:tavLst>
                                        <p:tav tm="0">
                                          <p:val>
                                            <p:fltVal val="360"/>
                                          </p:val>
                                        </p:tav>
                                        <p:tav tm="100000">
                                          <p:val>
                                            <p:fltVal val="0"/>
                                          </p:val>
                                        </p:tav>
                                      </p:tavLst>
                                    </p:anim>
                                    <p:animEffect transition="in" filter="fade">
                                      <p:cBhvr>
                                        <p:cTn id="112" dur="500"/>
                                        <p:tgtEl>
                                          <p:spTgt spid="1000"/>
                                        </p:tgtEl>
                                      </p:cBhvr>
                                    </p:animEffect>
                                  </p:childTnLst>
                                </p:cTn>
                              </p:par>
                            </p:childTnLst>
                          </p:cTn>
                        </p:par>
                        <p:par>
                          <p:cTn id="113" fill="hold">
                            <p:stCondLst>
                              <p:cond delay="500"/>
                            </p:stCondLst>
                            <p:childTnLst>
                              <p:par>
                                <p:cTn id="114" presetID="10" presetClass="entr" presetSubtype="0" fill="hold" nodeType="afterEffect">
                                  <p:stCondLst>
                                    <p:cond delay="0"/>
                                  </p:stCondLst>
                                  <p:childTnLst>
                                    <p:set>
                                      <p:cBhvr>
                                        <p:cTn id="115" dur="1" fill="hold">
                                          <p:stCondLst>
                                            <p:cond delay="0"/>
                                          </p:stCondLst>
                                        </p:cTn>
                                        <p:tgtEl>
                                          <p:spTgt spid="1016"/>
                                        </p:tgtEl>
                                        <p:attrNameLst>
                                          <p:attrName>style.visibility</p:attrName>
                                        </p:attrNameLst>
                                      </p:cBhvr>
                                      <p:to>
                                        <p:strVal val="visible"/>
                                      </p:to>
                                    </p:set>
                                    <p:animEffect transition="in" filter="fade">
                                      <p:cBhvr>
                                        <p:cTn id="116" dur="250"/>
                                        <p:tgtEl>
                                          <p:spTgt spid="1016"/>
                                        </p:tgtEl>
                                      </p:cBhvr>
                                    </p:animEffect>
                                  </p:childTnLst>
                                </p:cTn>
                              </p:par>
                            </p:childTnLst>
                          </p:cTn>
                        </p:par>
                        <p:par>
                          <p:cTn id="117" fill="hold">
                            <p:stCondLst>
                              <p:cond delay="750"/>
                            </p:stCondLst>
                            <p:childTnLst>
                              <p:par>
                                <p:cTn id="118" presetID="22" presetClass="entr" presetSubtype="2" fill="hold" nodeType="afterEffect">
                                  <p:stCondLst>
                                    <p:cond delay="0"/>
                                  </p:stCondLst>
                                  <p:childTnLst>
                                    <p:set>
                                      <p:cBhvr>
                                        <p:cTn id="119" dur="1" fill="hold">
                                          <p:stCondLst>
                                            <p:cond delay="0"/>
                                          </p:stCondLst>
                                        </p:cTn>
                                        <p:tgtEl>
                                          <p:spTgt spid="12"/>
                                        </p:tgtEl>
                                        <p:attrNameLst>
                                          <p:attrName>style.visibility</p:attrName>
                                        </p:attrNameLst>
                                      </p:cBhvr>
                                      <p:to>
                                        <p:strVal val="visible"/>
                                      </p:to>
                                    </p:set>
                                    <p:animEffect transition="in" filter="wipe(right)">
                                      <p:cBhvr>
                                        <p:cTn id="120" dur="250"/>
                                        <p:tgtEl>
                                          <p:spTgt spid="12"/>
                                        </p:tgtEl>
                                      </p:cBhvr>
                                    </p:animEffect>
                                  </p:childTnLst>
                                </p:cTn>
                              </p:par>
                            </p:childTnLst>
                          </p:cTn>
                        </p:par>
                      </p:childTnLst>
                    </p:cTn>
                  </p:par>
                  <p:par>
                    <p:cTn id="121" fill="hold">
                      <p:stCondLst>
                        <p:cond delay="indefinite"/>
                      </p:stCondLst>
                      <p:childTnLst>
                        <p:par>
                          <p:cTn id="122" fill="hold">
                            <p:stCondLst>
                              <p:cond delay="0"/>
                            </p:stCondLst>
                            <p:childTnLst>
                              <p:par>
                                <p:cTn id="123" presetID="2" presetClass="entr" presetSubtype="4" fill="hold" nodeType="clickEffect">
                                  <p:stCondLst>
                                    <p:cond delay="0"/>
                                  </p:stCondLst>
                                  <p:childTnLst>
                                    <p:set>
                                      <p:cBhvr>
                                        <p:cTn id="124" dur="1" fill="hold">
                                          <p:stCondLst>
                                            <p:cond delay="0"/>
                                          </p:stCondLst>
                                        </p:cTn>
                                        <p:tgtEl>
                                          <p:spTgt spid="40"/>
                                        </p:tgtEl>
                                        <p:attrNameLst>
                                          <p:attrName>style.visibility</p:attrName>
                                        </p:attrNameLst>
                                      </p:cBhvr>
                                      <p:to>
                                        <p:strVal val="visible"/>
                                      </p:to>
                                    </p:set>
                                    <p:anim calcmode="lin" valueType="num">
                                      <p:cBhvr additive="base">
                                        <p:cTn id="125" dur="500" fill="hold"/>
                                        <p:tgtEl>
                                          <p:spTgt spid="40"/>
                                        </p:tgtEl>
                                        <p:attrNameLst>
                                          <p:attrName>ppt_x</p:attrName>
                                        </p:attrNameLst>
                                      </p:cBhvr>
                                      <p:tavLst>
                                        <p:tav tm="0">
                                          <p:val>
                                            <p:strVal val="#ppt_x"/>
                                          </p:val>
                                        </p:tav>
                                        <p:tav tm="100000">
                                          <p:val>
                                            <p:strVal val="#ppt_x"/>
                                          </p:val>
                                        </p:tav>
                                      </p:tavLst>
                                    </p:anim>
                                    <p:anim calcmode="lin" valueType="num">
                                      <p:cBhvr additive="base">
                                        <p:cTn id="126"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par>
                    <p:cTn id="127" fill="hold">
                      <p:stCondLst>
                        <p:cond delay="indefinite"/>
                      </p:stCondLst>
                      <p:childTnLst>
                        <p:par>
                          <p:cTn id="128" fill="hold">
                            <p:stCondLst>
                              <p:cond delay="0"/>
                            </p:stCondLst>
                            <p:childTnLst>
                              <p:par>
                                <p:cTn id="129" presetID="10" presetClass="exit" presetSubtype="0" fill="hold" nodeType="clickEffect">
                                  <p:stCondLst>
                                    <p:cond delay="0"/>
                                  </p:stCondLst>
                                  <p:childTnLst>
                                    <p:animEffect transition="out" filter="fade">
                                      <p:cBhvr>
                                        <p:cTn id="130" dur="500"/>
                                        <p:tgtEl>
                                          <p:spTgt spid="40"/>
                                        </p:tgtEl>
                                      </p:cBhvr>
                                    </p:animEffect>
                                    <p:set>
                                      <p:cBhvr>
                                        <p:cTn id="131" dur="1" fill="hold">
                                          <p:stCondLst>
                                            <p:cond delay="499"/>
                                          </p:stCondLst>
                                        </p:cTn>
                                        <p:tgtEl>
                                          <p:spTgt spid="40"/>
                                        </p:tgtEl>
                                        <p:attrNameLst>
                                          <p:attrName>style.visibility</p:attrName>
                                        </p:attrNameLst>
                                      </p:cBhvr>
                                      <p:to>
                                        <p:strVal val="hidden"/>
                                      </p:to>
                                    </p:set>
                                  </p:childTnLst>
                                </p:cTn>
                              </p:par>
                            </p:childTnLst>
                          </p:cTn>
                        </p:par>
                      </p:childTnLst>
                    </p:cTn>
                  </p:par>
                  <p:par>
                    <p:cTn id="132" fill="hold">
                      <p:stCondLst>
                        <p:cond delay="indefinite"/>
                      </p:stCondLst>
                      <p:childTnLst>
                        <p:par>
                          <p:cTn id="133" fill="hold">
                            <p:stCondLst>
                              <p:cond delay="0"/>
                            </p:stCondLst>
                            <p:childTnLst>
                              <p:par>
                                <p:cTn id="134" presetID="2" presetClass="entr" presetSubtype="4" fill="hold" nodeType="clickEffect">
                                  <p:stCondLst>
                                    <p:cond delay="0"/>
                                  </p:stCondLst>
                                  <p:childTnLst>
                                    <p:set>
                                      <p:cBhvr>
                                        <p:cTn id="135" dur="1" fill="hold">
                                          <p:stCondLst>
                                            <p:cond delay="0"/>
                                          </p:stCondLst>
                                        </p:cTn>
                                        <p:tgtEl>
                                          <p:spTgt spid="34"/>
                                        </p:tgtEl>
                                        <p:attrNameLst>
                                          <p:attrName>style.visibility</p:attrName>
                                        </p:attrNameLst>
                                      </p:cBhvr>
                                      <p:to>
                                        <p:strVal val="visible"/>
                                      </p:to>
                                    </p:set>
                                    <p:anim calcmode="lin" valueType="num">
                                      <p:cBhvr additive="base">
                                        <p:cTn id="136" dur="500" fill="hold"/>
                                        <p:tgtEl>
                                          <p:spTgt spid="34"/>
                                        </p:tgtEl>
                                        <p:attrNameLst>
                                          <p:attrName>ppt_x</p:attrName>
                                        </p:attrNameLst>
                                      </p:cBhvr>
                                      <p:tavLst>
                                        <p:tav tm="0">
                                          <p:val>
                                            <p:strVal val="#ppt_x"/>
                                          </p:val>
                                        </p:tav>
                                        <p:tav tm="100000">
                                          <p:val>
                                            <p:strVal val="#ppt_x"/>
                                          </p:val>
                                        </p:tav>
                                      </p:tavLst>
                                    </p:anim>
                                    <p:anim calcmode="lin" valueType="num">
                                      <p:cBhvr additive="base">
                                        <p:cTn id="137"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138" fill="hold">
                      <p:stCondLst>
                        <p:cond delay="indefinite"/>
                      </p:stCondLst>
                      <p:childTnLst>
                        <p:par>
                          <p:cTn id="139" fill="hold">
                            <p:stCondLst>
                              <p:cond delay="0"/>
                            </p:stCondLst>
                            <p:childTnLst>
                              <p:par>
                                <p:cTn id="140" presetID="22" presetClass="exit" presetSubtype="4" fill="hold" nodeType="clickEffect">
                                  <p:stCondLst>
                                    <p:cond delay="0"/>
                                  </p:stCondLst>
                                  <p:childTnLst>
                                    <p:animEffect transition="out" filter="wipe(down)">
                                      <p:cBhvr>
                                        <p:cTn id="141" dur="500"/>
                                        <p:tgtEl>
                                          <p:spTgt spid="34"/>
                                        </p:tgtEl>
                                      </p:cBhvr>
                                    </p:animEffect>
                                    <p:set>
                                      <p:cBhvr>
                                        <p:cTn id="142" dur="1" fill="hold">
                                          <p:stCondLst>
                                            <p:cond delay="499"/>
                                          </p:stCondLst>
                                        </p:cTn>
                                        <p:tgtEl>
                                          <p:spTgt spid="34"/>
                                        </p:tgtEl>
                                        <p:attrNameLst>
                                          <p:attrName>style.visibility</p:attrName>
                                        </p:attrNameLst>
                                      </p:cBhvr>
                                      <p:to>
                                        <p:strVal val="hidden"/>
                                      </p:to>
                                    </p:set>
                                  </p:childTnLst>
                                </p:cTn>
                              </p:par>
                            </p:childTnLst>
                          </p:cTn>
                        </p:par>
                      </p:childTnLst>
                    </p:cTn>
                  </p:par>
                  <p:par>
                    <p:cTn id="143" fill="hold">
                      <p:stCondLst>
                        <p:cond delay="indefinite"/>
                      </p:stCondLst>
                      <p:childTnLst>
                        <p:par>
                          <p:cTn id="144" fill="hold">
                            <p:stCondLst>
                              <p:cond delay="0"/>
                            </p:stCondLst>
                            <p:childTnLst>
                              <p:par>
                                <p:cTn id="145" presetID="2" presetClass="entr" presetSubtype="4" fill="hold" nodeType="clickEffect">
                                  <p:stCondLst>
                                    <p:cond delay="0"/>
                                  </p:stCondLst>
                                  <p:childTnLst>
                                    <p:set>
                                      <p:cBhvr>
                                        <p:cTn id="146" dur="1" fill="hold">
                                          <p:stCondLst>
                                            <p:cond delay="0"/>
                                          </p:stCondLst>
                                        </p:cTn>
                                        <p:tgtEl>
                                          <p:spTgt spid="38"/>
                                        </p:tgtEl>
                                        <p:attrNameLst>
                                          <p:attrName>style.visibility</p:attrName>
                                        </p:attrNameLst>
                                      </p:cBhvr>
                                      <p:to>
                                        <p:strVal val="visible"/>
                                      </p:to>
                                    </p:set>
                                    <p:anim calcmode="lin" valueType="num">
                                      <p:cBhvr additive="base">
                                        <p:cTn id="147" dur="500" fill="hold"/>
                                        <p:tgtEl>
                                          <p:spTgt spid="38"/>
                                        </p:tgtEl>
                                        <p:attrNameLst>
                                          <p:attrName>ppt_x</p:attrName>
                                        </p:attrNameLst>
                                      </p:cBhvr>
                                      <p:tavLst>
                                        <p:tav tm="0">
                                          <p:val>
                                            <p:strVal val="#ppt_x"/>
                                          </p:val>
                                        </p:tav>
                                        <p:tav tm="100000">
                                          <p:val>
                                            <p:strVal val="#ppt_x"/>
                                          </p:val>
                                        </p:tav>
                                      </p:tavLst>
                                    </p:anim>
                                    <p:anim calcmode="lin" valueType="num">
                                      <p:cBhvr additive="base">
                                        <p:cTn id="148"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149" fill="hold">
                      <p:stCondLst>
                        <p:cond delay="indefinite"/>
                      </p:stCondLst>
                      <p:childTnLst>
                        <p:par>
                          <p:cTn id="150" fill="hold">
                            <p:stCondLst>
                              <p:cond delay="0"/>
                            </p:stCondLst>
                            <p:childTnLst>
                              <p:par>
                                <p:cTn id="151" presetID="10" presetClass="exit" presetSubtype="0" fill="hold" nodeType="clickEffect">
                                  <p:stCondLst>
                                    <p:cond delay="0"/>
                                  </p:stCondLst>
                                  <p:childTnLst>
                                    <p:animEffect transition="out" filter="fade">
                                      <p:cBhvr>
                                        <p:cTn id="152" dur="500"/>
                                        <p:tgtEl>
                                          <p:spTgt spid="38"/>
                                        </p:tgtEl>
                                      </p:cBhvr>
                                    </p:animEffect>
                                    <p:set>
                                      <p:cBhvr>
                                        <p:cTn id="153" dur="1" fill="hold">
                                          <p:stCondLst>
                                            <p:cond delay="499"/>
                                          </p:stCondLst>
                                        </p:cTn>
                                        <p:tgtEl>
                                          <p:spTgt spid="38"/>
                                        </p:tgtEl>
                                        <p:attrNameLst>
                                          <p:attrName>style.visibility</p:attrName>
                                        </p:attrNameLst>
                                      </p:cBhvr>
                                      <p:to>
                                        <p:strVal val="hidden"/>
                                      </p:to>
                                    </p:set>
                                  </p:childTnLst>
                                </p:cTn>
                              </p:par>
                            </p:childTnLst>
                          </p:cTn>
                        </p:par>
                      </p:childTnLst>
                    </p:cTn>
                  </p:par>
                  <p:par>
                    <p:cTn id="154" fill="hold">
                      <p:stCondLst>
                        <p:cond delay="indefinite"/>
                      </p:stCondLst>
                      <p:childTnLst>
                        <p:par>
                          <p:cTn id="155" fill="hold">
                            <p:stCondLst>
                              <p:cond delay="0"/>
                            </p:stCondLst>
                            <p:childTnLst>
                              <p:par>
                                <p:cTn id="156" presetID="31" presetClass="entr" presetSubtype="0" fill="hold" nodeType="clickEffect">
                                  <p:stCondLst>
                                    <p:cond delay="0"/>
                                  </p:stCondLst>
                                  <p:childTnLst>
                                    <p:set>
                                      <p:cBhvr>
                                        <p:cTn id="157" dur="1" fill="hold">
                                          <p:stCondLst>
                                            <p:cond delay="0"/>
                                          </p:stCondLst>
                                        </p:cTn>
                                        <p:tgtEl>
                                          <p:spTgt spid="39"/>
                                        </p:tgtEl>
                                        <p:attrNameLst>
                                          <p:attrName>style.visibility</p:attrName>
                                        </p:attrNameLst>
                                      </p:cBhvr>
                                      <p:to>
                                        <p:strVal val="visible"/>
                                      </p:to>
                                    </p:set>
                                    <p:anim calcmode="lin" valueType="num">
                                      <p:cBhvr>
                                        <p:cTn id="158" dur="1000" fill="hold"/>
                                        <p:tgtEl>
                                          <p:spTgt spid="39"/>
                                        </p:tgtEl>
                                        <p:attrNameLst>
                                          <p:attrName>ppt_w</p:attrName>
                                        </p:attrNameLst>
                                      </p:cBhvr>
                                      <p:tavLst>
                                        <p:tav tm="0">
                                          <p:val>
                                            <p:fltVal val="0"/>
                                          </p:val>
                                        </p:tav>
                                        <p:tav tm="100000">
                                          <p:val>
                                            <p:strVal val="#ppt_w"/>
                                          </p:val>
                                        </p:tav>
                                      </p:tavLst>
                                    </p:anim>
                                    <p:anim calcmode="lin" valueType="num">
                                      <p:cBhvr>
                                        <p:cTn id="159" dur="1000" fill="hold"/>
                                        <p:tgtEl>
                                          <p:spTgt spid="39"/>
                                        </p:tgtEl>
                                        <p:attrNameLst>
                                          <p:attrName>ppt_h</p:attrName>
                                        </p:attrNameLst>
                                      </p:cBhvr>
                                      <p:tavLst>
                                        <p:tav tm="0">
                                          <p:val>
                                            <p:fltVal val="0"/>
                                          </p:val>
                                        </p:tav>
                                        <p:tav tm="100000">
                                          <p:val>
                                            <p:strVal val="#ppt_h"/>
                                          </p:val>
                                        </p:tav>
                                      </p:tavLst>
                                    </p:anim>
                                    <p:anim calcmode="lin" valueType="num">
                                      <p:cBhvr>
                                        <p:cTn id="160" dur="1000" fill="hold"/>
                                        <p:tgtEl>
                                          <p:spTgt spid="39"/>
                                        </p:tgtEl>
                                        <p:attrNameLst>
                                          <p:attrName>style.rotation</p:attrName>
                                        </p:attrNameLst>
                                      </p:cBhvr>
                                      <p:tavLst>
                                        <p:tav tm="0">
                                          <p:val>
                                            <p:fltVal val="90"/>
                                          </p:val>
                                        </p:tav>
                                        <p:tav tm="100000">
                                          <p:val>
                                            <p:fltVal val="0"/>
                                          </p:val>
                                        </p:tav>
                                      </p:tavLst>
                                    </p:anim>
                                    <p:animEffect transition="in" filter="fade">
                                      <p:cBhvr>
                                        <p:cTn id="161" dur="10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4" grpId="0" animBg="1"/>
      <p:bldP spid="995" grpId="0" animBg="1"/>
      <p:bldP spid="996" grpId="0" animBg="1"/>
      <p:bldP spid="997" grpId="0" animBg="1"/>
      <p:bldP spid="998" grpId="0" animBg="1"/>
      <p:bldP spid="999" grpId="0" animBg="1"/>
      <p:bldP spid="1000" grpId="0" animBg="1"/>
      <p:bldP spid="1003" grpId="0" uiExpand="1" build="p"/>
      <p:bldP spid="1004" grpId="0"/>
      <p:bldP spid="1007" grpId="0"/>
      <p:bldP spid="51" grpId="0"/>
      <p:bldP spid="54" grpId="0" animBg="1"/>
      <p:bldP spid="68"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41B613CA-C71B-4902-A7B6-647DC59FC34A}"/>
              </a:ext>
            </a:extLst>
          </p:cNvPr>
          <p:cNvSpPr>
            <a:spLocks noGrp="1"/>
          </p:cNvSpPr>
          <p:nvPr>
            <p:ph type="sldNum" sz="quarter" idx="12"/>
          </p:nvPr>
        </p:nvSpPr>
        <p:spPr>
          <a:xfrm>
            <a:off x="11354953" y="6082259"/>
            <a:ext cx="474215" cy="538944"/>
          </a:xfrm>
        </p:spPr>
        <p:txBody>
          <a:bodyPr/>
          <a:lstStyle/>
          <a:p>
            <a:r>
              <a:rPr lang="fr-FR" sz="1800" dirty="0">
                <a:solidFill>
                  <a:schemeClr val="bg1"/>
                </a:solidFill>
                <a:latin typeface="Lato" panose="020F0502020204030203"/>
              </a:rPr>
              <a:t>2</a:t>
            </a:r>
            <a:endParaRPr lang="fr-FR" sz="1400" dirty="0">
              <a:solidFill>
                <a:schemeClr val="bg1"/>
              </a:solidFill>
              <a:latin typeface="Lato" panose="020F0502020204030203"/>
            </a:endParaRPr>
          </a:p>
        </p:txBody>
      </p:sp>
      <p:sp>
        <p:nvSpPr>
          <p:cNvPr id="6" name="Flèche droite 115">
            <a:extLst>
              <a:ext uri="{FF2B5EF4-FFF2-40B4-BE49-F238E27FC236}">
                <a16:creationId xmlns:a16="http://schemas.microsoft.com/office/drawing/2014/main" id="{3F12A46D-8568-4AA2-A0EF-0359DA4E3789}"/>
              </a:ext>
            </a:extLst>
          </p:cNvPr>
          <p:cNvSpPr/>
          <p:nvPr/>
        </p:nvSpPr>
        <p:spPr>
          <a:xfrm>
            <a:off x="3036673" y="2558874"/>
            <a:ext cx="5798746" cy="3348037"/>
          </a:xfrm>
          <a:prstGeom prst="rightArrow">
            <a:avLst/>
          </a:prstGeom>
          <a:solidFill>
            <a:srgbClr val="020088"/>
          </a:solidFill>
        </p:spPr>
        <p:style>
          <a:lnRef idx="0">
            <a:schemeClr val="dk1">
              <a:hueOff val="0"/>
              <a:satOff val="0"/>
              <a:lumOff val="0"/>
              <a:alphaOff val="0"/>
            </a:schemeClr>
          </a:lnRef>
          <a:fillRef idx="1">
            <a:schemeClr val="accent2">
              <a:tint val="40000"/>
              <a:hueOff val="0"/>
              <a:satOff val="0"/>
              <a:lumOff val="0"/>
              <a:alphaOff val="0"/>
            </a:schemeClr>
          </a:fillRef>
          <a:effectRef idx="2">
            <a:schemeClr val="accent2">
              <a:tint val="40000"/>
              <a:hueOff val="0"/>
              <a:satOff val="0"/>
              <a:lumOff val="0"/>
              <a:alphaOff val="0"/>
            </a:schemeClr>
          </a:effectRef>
          <a:fontRef idx="minor">
            <a:schemeClr val="dk1">
              <a:hueOff val="0"/>
              <a:satOff val="0"/>
              <a:lumOff val="0"/>
              <a:alphaOff val="0"/>
            </a:schemeClr>
          </a:fontRef>
        </p:style>
      </p:sp>
      <p:sp>
        <p:nvSpPr>
          <p:cNvPr id="7" name="Forme libre 116">
            <a:extLst>
              <a:ext uri="{FF2B5EF4-FFF2-40B4-BE49-F238E27FC236}">
                <a16:creationId xmlns:a16="http://schemas.microsoft.com/office/drawing/2014/main" id="{B09174B1-5585-457C-ABA7-B8E20BE3ED9D}"/>
              </a:ext>
            </a:extLst>
          </p:cNvPr>
          <p:cNvSpPr/>
          <p:nvPr/>
        </p:nvSpPr>
        <p:spPr>
          <a:xfrm>
            <a:off x="1988820" y="3572796"/>
            <a:ext cx="1743243" cy="1236161"/>
          </a:xfrm>
          <a:custGeom>
            <a:avLst/>
            <a:gdLst>
              <a:gd name="connsiteX0" fmla="*/ 0 w 1987264"/>
              <a:gd name="connsiteY0" fmla="*/ 270939 h 1625600"/>
              <a:gd name="connsiteX1" fmla="*/ 270939 w 1987264"/>
              <a:gd name="connsiteY1" fmla="*/ 0 h 1625600"/>
              <a:gd name="connsiteX2" fmla="*/ 1716325 w 1987264"/>
              <a:gd name="connsiteY2" fmla="*/ 0 h 1625600"/>
              <a:gd name="connsiteX3" fmla="*/ 1987264 w 1987264"/>
              <a:gd name="connsiteY3" fmla="*/ 270939 h 1625600"/>
              <a:gd name="connsiteX4" fmla="*/ 1987264 w 1987264"/>
              <a:gd name="connsiteY4" fmla="*/ 1354661 h 1625600"/>
              <a:gd name="connsiteX5" fmla="*/ 1716325 w 1987264"/>
              <a:gd name="connsiteY5" fmla="*/ 1625600 h 1625600"/>
              <a:gd name="connsiteX6" fmla="*/ 270939 w 1987264"/>
              <a:gd name="connsiteY6" fmla="*/ 1625600 h 1625600"/>
              <a:gd name="connsiteX7" fmla="*/ 0 w 1987264"/>
              <a:gd name="connsiteY7" fmla="*/ 1354661 h 1625600"/>
              <a:gd name="connsiteX8" fmla="*/ 0 w 1987264"/>
              <a:gd name="connsiteY8" fmla="*/ 270939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7264" h="1625600">
                <a:moveTo>
                  <a:pt x="0" y="270939"/>
                </a:moveTo>
                <a:cubicBezTo>
                  <a:pt x="0" y="121304"/>
                  <a:pt x="121304" y="0"/>
                  <a:pt x="270939" y="0"/>
                </a:cubicBezTo>
                <a:lnTo>
                  <a:pt x="1716325" y="0"/>
                </a:lnTo>
                <a:cubicBezTo>
                  <a:pt x="1865960" y="0"/>
                  <a:pt x="1987264" y="121304"/>
                  <a:pt x="1987264" y="270939"/>
                </a:cubicBezTo>
                <a:lnTo>
                  <a:pt x="1987264" y="1354661"/>
                </a:lnTo>
                <a:cubicBezTo>
                  <a:pt x="1987264" y="1504296"/>
                  <a:pt x="1865960" y="1625600"/>
                  <a:pt x="1716325" y="1625600"/>
                </a:cubicBezTo>
                <a:lnTo>
                  <a:pt x="270939" y="1625600"/>
                </a:lnTo>
                <a:cubicBezTo>
                  <a:pt x="121304" y="1625600"/>
                  <a:pt x="0" y="1504296"/>
                  <a:pt x="0" y="1354661"/>
                </a:cubicBezTo>
                <a:lnTo>
                  <a:pt x="0" y="270939"/>
                </a:lnTo>
                <a:close/>
              </a:path>
            </a:pathLst>
          </a:custGeom>
          <a:solidFill>
            <a:schemeClr val="bg1"/>
          </a:solidFill>
        </p:spPr>
        <p:style>
          <a:lnRef idx="1">
            <a:schemeClr val="accent4"/>
          </a:lnRef>
          <a:fillRef idx="3">
            <a:schemeClr val="accent4"/>
          </a:fillRef>
          <a:effectRef idx="2">
            <a:schemeClr val="accent4"/>
          </a:effectRef>
          <a:fontRef idx="minor">
            <a:schemeClr val="lt1"/>
          </a:fontRef>
        </p:style>
        <p:txBody>
          <a:bodyPr spcFirstLastPara="0" vert="horz" wrap="square" lIns="166985" tIns="166985" rIns="166985" bIns="166985" numCol="1" spcCol="1270" anchor="ctr" anchorCtr="0">
            <a:noAutofit/>
          </a:bodyPr>
          <a:lstStyle/>
          <a:p>
            <a:pPr algn="ctr" defTabSz="1022350">
              <a:lnSpc>
                <a:spcPct val="90000"/>
              </a:lnSpc>
              <a:spcBef>
                <a:spcPct val="0"/>
              </a:spcBef>
              <a:spcAft>
                <a:spcPct val="35000"/>
              </a:spcAft>
            </a:pPr>
            <a:r>
              <a:rPr lang="es-ES" b="1" dirty="0">
                <a:solidFill>
                  <a:schemeClr val="tx1"/>
                </a:solidFill>
                <a:latin typeface="Times New Roman" panose="02020603050405020304" pitchFamily="18" charset="0"/>
                <a:cs typeface="Times New Roman" panose="02020603050405020304" pitchFamily="18" charset="0"/>
              </a:rPr>
              <a:t>Atelier </a:t>
            </a:r>
            <a:r>
              <a:rPr lang="es-ES" b="1" dirty="0" err="1">
                <a:solidFill>
                  <a:schemeClr val="tx1"/>
                </a:solidFill>
                <a:latin typeface="Times New Roman" panose="02020603050405020304" pitchFamily="18" charset="0"/>
                <a:cs typeface="Times New Roman" panose="02020603050405020304" pitchFamily="18" charset="0"/>
              </a:rPr>
              <a:t>Emboutissage</a:t>
            </a:r>
            <a:endParaRPr lang="es-ES" b="1" dirty="0">
              <a:solidFill>
                <a:schemeClr val="tx1"/>
              </a:solidFill>
              <a:latin typeface="Times New Roman" panose="02020603050405020304" pitchFamily="18" charset="0"/>
              <a:cs typeface="Times New Roman" panose="02020603050405020304" pitchFamily="18" charset="0"/>
            </a:endParaRPr>
          </a:p>
        </p:txBody>
      </p:sp>
      <p:sp>
        <p:nvSpPr>
          <p:cNvPr id="8" name="Forme libre 119">
            <a:extLst>
              <a:ext uri="{FF2B5EF4-FFF2-40B4-BE49-F238E27FC236}">
                <a16:creationId xmlns:a16="http://schemas.microsoft.com/office/drawing/2014/main" id="{6D1102DB-AA50-487D-8EB9-FD1338D3B827}"/>
              </a:ext>
            </a:extLst>
          </p:cNvPr>
          <p:cNvSpPr/>
          <p:nvPr/>
        </p:nvSpPr>
        <p:spPr>
          <a:xfrm>
            <a:off x="7476663" y="3572796"/>
            <a:ext cx="1656184" cy="1236161"/>
          </a:xfrm>
          <a:custGeom>
            <a:avLst/>
            <a:gdLst>
              <a:gd name="connsiteX0" fmla="*/ 0 w 1987264"/>
              <a:gd name="connsiteY0" fmla="*/ 270939 h 1625600"/>
              <a:gd name="connsiteX1" fmla="*/ 270939 w 1987264"/>
              <a:gd name="connsiteY1" fmla="*/ 0 h 1625600"/>
              <a:gd name="connsiteX2" fmla="*/ 1716325 w 1987264"/>
              <a:gd name="connsiteY2" fmla="*/ 0 h 1625600"/>
              <a:gd name="connsiteX3" fmla="*/ 1987264 w 1987264"/>
              <a:gd name="connsiteY3" fmla="*/ 270939 h 1625600"/>
              <a:gd name="connsiteX4" fmla="*/ 1987264 w 1987264"/>
              <a:gd name="connsiteY4" fmla="*/ 1354661 h 1625600"/>
              <a:gd name="connsiteX5" fmla="*/ 1716325 w 1987264"/>
              <a:gd name="connsiteY5" fmla="*/ 1625600 h 1625600"/>
              <a:gd name="connsiteX6" fmla="*/ 270939 w 1987264"/>
              <a:gd name="connsiteY6" fmla="*/ 1625600 h 1625600"/>
              <a:gd name="connsiteX7" fmla="*/ 0 w 1987264"/>
              <a:gd name="connsiteY7" fmla="*/ 1354661 h 1625600"/>
              <a:gd name="connsiteX8" fmla="*/ 0 w 1987264"/>
              <a:gd name="connsiteY8" fmla="*/ 270939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7264" h="1625600">
                <a:moveTo>
                  <a:pt x="0" y="270939"/>
                </a:moveTo>
                <a:cubicBezTo>
                  <a:pt x="0" y="121304"/>
                  <a:pt x="121304" y="0"/>
                  <a:pt x="270939" y="0"/>
                </a:cubicBezTo>
                <a:lnTo>
                  <a:pt x="1716325" y="0"/>
                </a:lnTo>
                <a:cubicBezTo>
                  <a:pt x="1865960" y="0"/>
                  <a:pt x="1987264" y="121304"/>
                  <a:pt x="1987264" y="270939"/>
                </a:cubicBezTo>
                <a:lnTo>
                  <a:pt x="1987264" y="1354661"/>
                </a:lnTo>
                <a:cubicBezTo>
                  <a:pt x="1987264" y="1504296"/>
                  <a:pt x="1865960" y="1625600"/>
                  <a:pt x="1716325" y="1625600"/>
                </a:cubicBezTo>
                <a:lnTo>
                  <a:pt x="270939" y="1625600"/>
                </a:lnTo>
                <a:cubicBezTo>
                  <a:pt x="121304" y="1625600"/>
                  <a:pt x="0" y="1504296"/>
                  <a:pt x="0" y="1354661"/>
                </a:cubicBezTo>
                <a:lnTo>
                  <a:pt x="0" y="270939"/>
                </a:lnTo>
                <a:close/>
              </a:path>
            </a:pathLst>
          </a:custGeom>
          <a:solidFill>
            <a:schemeClr val="bg1"/>
          </a:solidFill>
        </p:spPr>
        <p:style>
          <a:lnRef idx="1">
            <a:schemeClr val="accent4"/>
          </a:lnRef>
          <a:fillRef idx="3">
            <a:schemeClr val="accent4"/>
          </a:fillRef>
          <a:effectRef idx="2">
            <a:schemeClr val="accent4"/>
          </a:effectRef>
          <a:fontRef idx="minor">
            <a:schemeClr val="lt1"/>
          </a:fontRef>
        </p:style>
        <p:txBody>
          <a:bodyPr spcFirstLastPara="0" vert="horz" wrap="square" lIns="166985" tIns="166985" rIns="166985" bIns="166985" numCol="1" spcCol="1270" anchor="ctr" anchorCtr="0">
            <a:noAutofit/>
          </a:bodyPr>
          <a:lstStyle/>
          <a:p>
            <a:pPr lvl="0" algn="ctr" defTabSz="1022350">
              <a:lnSpc>
                <a:spcPct val="90000"/>
              </a:lnSpc>
              <a:spcBef>
                <a:spcPct val="0"/>
              </a:spcBef>
              <a:spcAft>
                <a:spcPct val="35000"/>
              </a:spcAft>
            </a:pPr>
            <a:r>
              <a:rPr lang="es-ES" b="1" dirty="0">
                <a:solidFill>
                  <a:schemeClr val="tx1"/>
                </a:solidFill>
                <a:latin typeface="Times New Roman" panose="02020603050405020304" pitchFamily="18" charset="0"/>
                <a:cs typeface="Times New Roman" panose="02020603050405020304" pitchFamily="18" charset="0"/>
              </a:rPr>
              <a:t>Atelier </a:t>
            </a:r>
            <a:r>
              <a:rPr lang="es-ES" b="1" dirty="0" err="1">
                <a:solidFill>
                  <a:schemeClr val="tx1"/>
                </a:solidFill>
                <a:latin typeface="Times New Roman" panose="02020603050405020304" pitchFamily="18" charset="0"/>
                <a:cs typeface="Times New Roman" panose="02020603050405020304" pitchFamily="18" charset="0"/>
              </a:rPr>
              <a:t>Montage</a:t>
            </a:r>
            <a:endParaRPr lang="es-ES" b="1" dirty="0">
              <a:solidFill>
                <a:schemeClr val="tx1"/>
              </a:solidFill>
              <a:latin typeface="Times New Roman" panose="02020603050405020304" pitchFamily="18" charset="0"/>
              <a:cs typeface="Times New Roman" panose="02020603050405020304" pitchFamily="18" charset="0"/>
            </a:endParaRPr>
          </a:p>
        </p:txBody>
      </p:sp>
      <p:pic>
        <p:nvPicPr>
          <p:cNvPr id="9" name="Picture 3" descr="C:\Users\maruan\Desktop\1.png">
            <a:extLst>
              <a:ext uri="{FF2B5EF4-FFF2-40B4-BE49-F238E27FC236}">
                <a16:creationId xmlns:a16="http://schemas.microsoft.com/office/drawing/2014/main" id="{748A7362-7018-4A59-9202-51344F881C8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5254" y="1657845"/>
            <a:ext cx="314063" cy="3140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Users\maruan\Desktop\bubines copie.png">
            <a:extLst>
              <a:ext uri="{FF2B5EF4-FFF2-40B4-BE49-F238E27FC236}">
                <a16:creationId xmlns:a16="http://schemas.microsoft.com/office/drawing/2014/main" id="{B8EA0CEC-432D-4CD0-BB57-FD45ECC5C9D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38373" y="1617330"/>
            <a:ext cx="2026204" cy="52733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C:\Users\maruan\Desktop\bab.png">
            <a:extLst>
              <a:ext uri="{FF2B5EF4-FFF2-40B4-BE49-F238E27FC236}">
                <a16:creationId xmlns:a16="http://schemas.microsoft.com/office/drawing/2014/main" id="{551D207A-C4A6-4230-84D9-F79CBAC16E3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27498" y="1496589"/>
            <a:ext cx="647097" cy="7824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C:\Users\maruan\Desktop\Sans titre-1 copie.png">
            <a:extLst>
              <a:ext uri="{FF2B5EF4-FFF2-40B4-BE49-F238E27FC236}">
                <a16:creationId xmlns:a16="http://schemas.microsoft.com/office/drawing/2014/main" id="{FF3FD90F-13E9-4A92-BCA6-2D94C7F6EA6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61273" y="3008757"/>
            <a:ext cx="1551094" cy="73861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C:\Users\maruan\Desktop\peintue.png">
            <a:extLst>
              <a:ext uri="{FF2B5EF4-FFF2-40B4-BE49-F238E27FC236}">
                <a16:creationId xmlns:a16="http://schemas.microsoft.com/office/drawing/2014/main" id="{5387F4DB-6C6C-4AE5-97A5-0950ADA6261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36503" y="4232893"/>
            <a:ext cx="2236135" cy="106482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C:\Users\maruan\Desktop\lodgy.png">
            <a:extLst>
              <a:ext uri="{FF2B5EF4-FFF2-40B4-BE49-F238E27FC236}">
                <a16:creationId xmlns:a16="http://schemas.microsoft.com/office/drawing/2014/main" id="{1890277F-4336-46CE-9CA8-C9C0068C809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97446" y="5734320"/>
            <a:ext cx="1942913" cy="886883"/>
          </a:xfrm>
          <a:prstGeom prst="rect">
            <a:avLst/>
          </a:prstGeom>
          <a:noFill/>
          <a:extLst>
            <a:ext uri="{909E8E84-426E-40DD-AFC4-6F175D3DCCD1}">
              <a14:hiddenFill xmlns:a14="http://schemas.microsoft.com/office/drawing/2010/main">
                <a:solidFill>
                  <a:srgbClr val="FFFFFF"/>
                </a:solidFill>
              </a14:hiddenFill>
            </a:ext>
          </a:extLst>
        </p:spPr>
      </p:pic>
      <p:sp>
        <p:nvSpPr>
          <p:cNvPr id="15" name="Forme libre 117">
            <a:extLst>
              <a:ext uri="{FF2B5EF4-FFF2-40B4-BE49-F238E27FC236}">
                <a16:creationId xmlns:a16="http://schemas.microsoft.com/office/drawing/2014/main" id="{F681CD50-7FB1-4590-A400-ED4E4B9C9571}"/>
              </a:ext>
            </a:extLst>
          </p:cNvPr>
          <p:cNvSpPr/>
          <p:nvPr/>
        </p:nvSpPr>
        <p:spPr>
          <a:xfrm>
            <a:off x="3876263" y="3572796"/>
            <a:ext cx="1656000" cy="1236161"/>
          </a:xfrm>
          <a:custGeom>
            <a:avLst/>
            <a:gdLst>
              <a:gd name="connsiteX0" fmla="*/ 0 w 1987264"/>
              <a:gd name="connsiteY0" fmla="*/ 270939 h 1625600"/>
              <a:gd name="connsiteX1" fmla="*/ 270939 w 1987264"/>
              <a:gd name="connsiteY1" fmla="*/ 0 h 1625600"/>
              <a:gd name="connsiteX2" fmla="*/ 1716325 w 1987264"/>
              <a:gd name="connsiteY2" fmla="*/ 0 h 1625600"/>
              <a:gd name="connsiteX3" fmla="*/ 1987264 w 1987264"/>
              <a:gd name="connsiteY3" fmla="*/ 270939 h 1625600"/>
              <a:gd name="connsiteX4" fmla="*/ 1987264 w 1987264"/>
              <a:gd name="connsiteY4" fmla="*/ 1354661 h 1625600"/>
              <a:gd name="connsiteX5" fmla="*/ 1716325 w 1987264"/>
              <a:gd name="connsiteY5" fmla="*/ 1625600 h 1625600"/>
              <a:gd name="connsiteX6" fmla="*/ 270939 w 1987264"/>
              <a:gd name="connsiteY6" fmla="*/ 1625600 h 1625600"/>
              <a:gd name="connsiteX7" fmla="*/ 0 w 1987264"/>
              <a:gd name="connsiteY7" fmla="*/ 1354661 h 1625600"/>
              <a:gd name="connsiteX8" fmla="*/ 0 w 1987264"/>
              <a:gd name="connsiteY8" fmla="*/ 270939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7264" h="1625600">
                <a:moveTo>
                  <a:pt x="0" y="270939"/>
                </a:moveTo>
                <a:cubicBezTo>
                  <a:pt x="0" y="121304"/>
                  <a:pt x="121304" y="0"/>
                  <a:pt x="270939" y="0"/>
                </a:cubicBezTo>
                <a:lnTo>
                  <a:pt x="1716325" y="0"/>
                </a:lnTo>
                <a:cubicBezTo>
                  <a:pt x="1865960" y="0"/>
                  <a:pt x="1987264" y="121304"/>
                  <a:pt x="1987264" y="270939"/>
                </a:cubicBezTo>
                <a:lnTo>
                  <a:pt x="1987264" y="1354661"/>
                </a:lnTo>
                <a:cubicBezTo>
                  <a:pt x="1987264" y="1504296"/>
                  <a:pt x="1865960" y="1625600"/>
                  <a:pt x="1716325" y="1625600"/>
                </a:cubicBezTo>
                <a:lnTo>
                  <a:pt x="270939" y="1625600"/>
                </a:lnTo>
                <a:cubicBezTo>
                  <a:pt x="121304" y="1625600"/>
                  <a:pt x="0" y="1504296"/>
                  <a:pt x="0" y="1354661"/>
                </a:cubicBezTo>
                <a:lnTo>
                  <a:pt x="0" y="270939"/>
                </a:lnTo>
                <a:close/>
              </a:path>
            </a:pathLst>
          </a:custGeom>
          <a:solidFill>
            <a:schemeClr val="bg1"/>
          </a:solidFill>
        </p:spPr>
        <p:style>
          <a:lnRef idx="1">
            <a:schemeClr val="accent4"/>
          </a:lnRef>
          <a:fillRef idx="3">
            <a:schemeClr val="accent4"/>
          </a:fillRef>
          <a:effectRef idx="2">
            <a:schemeClr val="accent4"/>
          </a:effectRef>
          <a:fontRef idx="minor">
            <a:schemeClr val="lt1"/>
          </a:fontRef>
        </p:style>
        <p:txBody>
          <a:bodyPr spcFirstLastPara="0" vert="horz" wrap="square" lIns="166985" tIns="166985" rIns="166985" bIns="166985" numCol="1" spcCol="1270" anchor="ctr" anchorCtr="0">
            <a:noAutofit/>
          </a:bodyPr>
          <a:lstStyle/>
          <a:p>
            <a:pPr lvl="0" algn="ctr" defTabSz="1022350">
              <a:lnSpc>
                <a:spcPct val="90000"/>
              </a:lnSpc>
              <a:spcBef>
                <a:spcPct val="0"/>
              </a:spcBef>
              <a:spcAft>
                <a:spcPct val="35000"/>
              </a:spcAft>
            </a:pPr>
            <a:r>
              <a:rPr lang="es-ES" b="1" dirty="0">
                <a:solidFill>
                  <a:schemeClr val="tx1"/>
                </a:solidFill>
                <a:latin typeface="Times New Roman" panose="02020603050405020304" pitchFamily="18" charset="0"/>
                <a:cs typeface="Times New Roman" panose="02020603050405020304" pitchFamily="18" charset="0"/>
              </a:rPr>
              <a:t>Atelier</a:t>
            </a:r>
          </a:p>
          <a:p>
            <a:pPr lvl="0" algn="ctr" defTabSz="1022350">
              <a:lnSpc>
                <a:spcPct val="90000"/>
              </a:lnSpc>
              <a:spcBef>
                <a:spcPct val="0"/>
              </a:spcBef>
              <a:spcAft>
                <a:spcPct val="35000"/>
              </a:spcAft>
            </a:pPr>
            <a:r>
              <a:rPr lang="es-ES" b="1" dirty="0" err="1">
                <a:solidFill>
                  <a:schemeClr val="tx1"/>
                </a:solidFill>
                <a:latin typeface="Times New Roman" panose="02020603050405020304" pitchFamily="18" charset="0"/>
                <a:cs typeface="Times New Roman" panose="02020603050405020304" pitchFamily="18" charset="0"/>
              </a:rPr>
              <a:t>Tôlerie</a:t>
            </a:r>
          </a:p>
        </p:txBody>
      </p:sp>
      <p:sp>
        <p:nvSpPr>
          <p:cNvPr id="16" name="Forme libre 118">
            <a:extLst>
              <a:ext uri="{FF2B5EF4-FFF2-40B4-BE49-F238E27FC236}">
                <a16:creationId xmlns:a16="http://schemas.microsoft.com/office/drawing/2014/main" id="{2A7A5685-5044-4A67-97C5-FD56F62B47EC}"/>
              </a:ext>
            </a:extLst>
          </p:cNvPr>
          <p:cNvSpPr/>
          <p:nvPr/>
        </p:nvSpPr>
        <p:spPr>
          <a:xfrm>
            <a:off x="5676463" y="3572796"/>
            <a:ext cx="1656184" cy="1236161"/>
          </a:xfrm>
          <a:custGeom>
            <a:avLst/>
            <a:gdLst>
              <a:gd name="connsiteX0" fmla="*/ 0 w 1987264"/>
              <a:gd name="connsiteY0" fmla="*/ 270939 h 1625600"/>
              <a:gd name="connsiteX1" fmla="*/ 270939 w 1987264"/>
              <a:gd name="connsiteY1" fmla="*/ 0 h 1625600"/>
              <a:gd name="connsiteX2" fmla="*/ 1716325 w 1987264"/>
              <a:gd name="connsiteY2" fmla="*/ 0 h 1625600"/>
              <a:gd name="connsiteX3" fmla="*/ 1987264 w 1987264"/>
              <a:gd name="connsiteY3" fmla="*/ 270939 h 1625600"/>
              <a:gd name="connsiteX4" fmla="*/ 1987264 w 1987264"/>
              <a:gd name="connsiteY4" fmla="*/ 1354661 h 1625600"/>
              <a:gd name="connsiteX5" fmla="*/ 1716325 w 1987264"/>
              <a:gd name="connsiteY5" fmla="*/ 1625600 h 1625600"/>
              <a:gd name="connsiteX6" fmla="*/ 270939 w 1987264"/>
              <a:gd name="connsiteY6" fmla="*/ 1625600 h 1625600"/>
              <a:gd name="connsiteX7" fmla="*/ 0 w 1987264"/>
              <a:gd name="connsiteY7" fmla="*/ 1354661 h 1625600"/>
              <a:gd name="connsiteX8" fmla="*/ 0 w 1987264"/>
              <a:gd name="connsiteY8" fmla="*/ 270939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7264" h="1625600">
                <a:moveTo>
                  <a:pt x="0" y="270939"/>
                </a:moveTo>
                <a:cubicBezTo>
                  <a:pt x="0" y="121304"/>
                  <a:pt x="121304" y="0"/>
                  <a:pt x="270939" y="0"/>
                </a:cubicBezTo>
                <a:lnTo>
                  <a:pt x="1716325" y="0"/>
                </a:lnTo>
                <a:cubicBezTo>
                  <a:pt x="1865960" y="0"/>
                  <a:pt x="1987264" y="121304"/>
                  <a:pt x="1987264" y="270939"/>
                </a:cubicBezTo>
                <a:lnTo>
                  <a:pt x="1987264" y="1354661"/>
                </a:lnTo>
                <a:cubicBezTo>
                  <a:pt x="1987264" y="1504296"/>
                  <a:pt x="1865960" y="1625600"/>
                  <a:pt x="1716325" y="1625600"/>
                </a:cubicBezTo>
                <a:lnTo>
                  <a:pt x="270939" y="1625600"/>
                </a:lnTo>
                <a:cubicBezTo>
                  <a:pt x="121304" y="1625600"/>
                  <a:pt x="0" y="1504296"/>
                  <a:pt x="0" y="1354661"/>
                </a:cubicBezTo>
                <a:lnTo>
                  <a:pt x="0" y="270939"/>
                </a:lnTo>
                <a:close/>
              </a:path>
            </a:pathLst>
          </a:custGeom>
          <a:solidFill>
            <a:schemeClr val="bg1"/>
          </a:solidFill>
        </p:spPr>
        <p:style>
          <a:lnRef idx="1">
            <a:schemeClr val="accent4"/>
          </a:lnRef>
          <a:fillRef idx="3">
            <a:schemeClr val="accent4"/>
          </a:fillRef>
          <a:effectRef idx="2">
            <a:schemeClr val="accent4"/>
          </a:effectRef>
          <a:fontRef idx="minor">
            <a:schemeClr val="lt1"/>
          </a:fontRef>
        </p:style>
        <p:txBody>
          <a:bodyPr spcFirstLastPara="0" vert="horz" wrap="square" lIns="166985" tIns="166985" rIns="166985" bIns="166985" numCol="1" spcCol="1270" anchor="ctr" anchorCtr="0">
            <a:noAutofit/>
          </a:bodyPr>
          <a:lstStyle/>
          <a:p>
            <a:pPr algn="ctr" defTabSz="1022350">
              <a:lnSpc>
                <a:spcPct val="90000"/>
              </a:lnSpc>
              <a:spcBef>
                <a:spcPct val="0"/>
              </a:spcBef>
              <a:spcAft>
                <a:spcPct val="35000"/>
              </a:spcAft>
            </a:pPr>
            <a:r>
              <a:rPr lang="es-ES" b="1" dirty="0">
                <a:solidFill>
                  <a:schemeClr val="tx1"/>
                </a:solidFill>
                <a:latin typeface="Times New Roman" panose="02020603050405020304" pitchFamily="18" charset="0"/>
                <a:cs typeface="Times New Roman" panose="02020603050405020304" pitchFamily="18" charset="0"/>
              </a:rPr>
              <a:t>Atelier </a:t>
            </a:r>
            <a:r>
              <a:rPr lang="es-ES" b="1" dirty="0" err="1">
                <a:solidFill>
                  <a:schemeClr val="tx1"/>
                </a:solidFill>
                <a:latin typeface="Times New Roman" panose="02020603050405020304" pitchFamily="18" charset="0"/>
                <a:cs typeface="Times New Roman" panose="02020603050405020304" pitchFamily="18" charset="0"/>
              </a:rPr>
              <a:t>Peinture</a:t>
            </a:r>
            <a:endParaRPr lang="es-ES" b="1" dirty="0">
              <a:solidFill>
                <a:schemeClr val="tx1"/>
              </a:solidFill>
              <a:latin typeface="Times New Roman" panose="02020603050405020304" pitchFamily="18" charset="0"/>
              <a:cs typeface="Times New Roman" panose="02020603050405020304" pitchFamily="18" charset="0"/>
            </a:endParaRPr>
          </a:p>
        </p:txBody>
      </p:sp>
      <p:grpSp>
        <p:nvGrpSpPr>
          <p:cNvPr id="17" name="Groupe 28">
            <a:extLst>
              <a:ext uri="{FF2B5EF4-FFF2-40B4-BE49-F238E27FC236}">
                <a16:creationId xmlns:a16="http://schemas.microsoft.com/office/drawing/2014/main" id="{6B639542-E434-4B58-BE86-86C926598652}"/>
              </a:ext>
            </a:extLst>
          </p:cNvPr>
          <p:cNvGrpSpPr/>
          <p:nvPr/>
        </p:nvGrpSpPr>
        <p:grpSpPr>
          <a:xfrm>
            <a:off x="118427" y="873455"/>
            <a:ext cx="3922483" cy="423771"/>
            <a:chOff x="1753712" y="816113"/>
            <a:chExt cx="2831900" cy="423771"/>
          </a:xfrm>
        </p:grpSpPr>
        <p:sp>
          <p:nvSpPr>
            <p:cNvPr id="18" name="ZoneTexte 20">
              <a:extLst>
                <a:ext uri="{FF2B5EF4-FFF2-40B4-BE49-F238E27FC236}">
                  <a16:creationId xmlns:a16="http://schemas.microsoft.com/office/drawing/2014/main" id="{99FB0C18-6043-4293-935D-931ED831412D}"/>
                </a:ext>
              </a:extLst>
            </p:cNvPr>
            <p:cNvSpPr txBox="1"/>
            <p:nvPr/>
          </p:nvSpPr>
          <p:spPr>
            <a:xfrm>
              <a:off x="1753712" y="816113"/>
              <a:ext cx="2831900"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600" dirty="0">
                  <a:solidFill>
                    <a:schemeClr val="bg2">
                      <a:lumMod val="90000"/>
                    </a:schemeClr>
                  </a:solidFill>
                  <a:latin typeface="Lato  "/>
                </a:rPr>
                <a:t>   Organisme d’accueil RENAULT TANGER</a:t>
              </a:r>
            </a:p>
          </p:txBody>
        </p:sp>
        <p:cxnSp>
          <p:nvCxnSpPr>
            <p:cNvPr id="19" name="Connecteur droit 51">
              <a:extLst>
                <a:ext uri="{FF2B5EF4-FFF2-40B4-BE49-F238E27FC236}">
                  <a16:creationId xmlns:a16="http://schemas.microsoft.com/office/drawing/2014/main" id="{EE796949-1FFC-4777-B550-18808CD019A0}"/>
                </a:ext>
              </a:extLst>
            </p:cNvPr>
            <p:cNvCxnSpPr/>
            <p:nvPr/>
          </p:nvCxnSpPr>
          <p:spPr>
            <a:xfrm>
              <a:off x="1860066" y="123988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0" name="Groupe 12">
            <a:extLst>
              <a:ext uri="{FF2B5EF4-FFF2-40B4-BE49-F238E27FC236}">
                <a16:creationId xmlns:a16="http://schemas.microsoft.com/office/drawing/2014/main" id="{0FABF45A-1CAF-4AC2-A3BC-62F57C5E2286}"/>
              </a:ext>
            </a:extLst>
          </p:cNvPr>
          <p:cNvGrpSpPr/>
          <p:nvPr/>
        </p:nvGrpSpPr>
        <p:grpSpPr>
          <a:xfrm>
            <a:off x="4378238" y="860921"/>
            <a:ext cx="3233729" cy="379493"/>
            <a:chOff x="5059598" y="818819"/>
            <a:chExt cx="3233729" cy="379493"/>
          </a:xfrm>
        </p:grpSpPr>
        <p:sp>
          <p:nvSpPr>
            <p:cNvPr id="21" name="ZoneTexte 23">
              <a:extLst>
                <a:ext uri="{FF2B5EF4-FFF2-40B4-BE49-F238E27FC236}">
                  <a16:creationId xmlns:a16="http://schemas.microsoft.com/office/drawing/2014/main" id="{F5B73006-ADD3-4FF6-8DC5-AE23F7EFA09A}"/>
                </a:ext>
              </a:extLst>
            </p:cNvPr>
            <p:cNvSpPr txBox="1"/>
            <p:nvPr/>
          </p:nvSpPr>
          <p:spPr>
            <a:xfrm>
              <a:off x="5059598" y="818819"/>
              <a:ext cx="3233729"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600" b="1" dirty="0">
                  <a:latin typeface="Lato  "/>
                </a:rPr>
                <a:t>Processus de fabrication de l’usine</a:t>
              </a:r>
            </a:p>
          </p:txBody>
        </p:sp>
        <p:cxnSp>
          <p:nvCxnSpPr>
            <p:cNvPr id="22" name="Connecteur droit 64">
              <a:extLst>
                <a:ext uri="{FF2B5EF4-FFF2-40B4-BE49-F238E27FC236}">
                  <a16:creationId xmlns:a16="http://schemas.microsoft.com/office/drawing/2014/main" id="{718C994C-296D-4C32-A3DD-E5C45867AC6B}"/>
                </a:ext>
              </a:extLst>
            </p:cNvPr>
            <p:cNvCxnSpPr/>
            <p:nvPr/>
          </p:nvCxnSpPr>
          <p:spPr>
            <a:xfrm>
              <a:off x="5411034" y="1198312"/>
              <a:ext cx="771015" cy="0"/>
            </a:xfrm>
            <a:prstGeom prst="line">
              <a:avLst/>
            </a:prstGeom>
            <a:ln w="28575">
              <a:solidFill>
                <a:srgbClr val="EE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3" name="ZoneTexte 53">
            <a:extLst>
              <a:ext uri="{FF2B5EF4-FFF2-40B4-BE49-F238E27FC236}">
                <a16:creationId xmlns:a16="http://schemas.microsoft.com/office/drawing/2014/main" id="{8DA7A52C-5DD3-4BF8-B584-14E8414280EB}"/>
              </a:ext>
            </a:extLst>
          </p:cNvPr>
          <p:cNvSpPr txBox="1"/>
          <p:nvPr/>
        </p:nvSpPr>
        <p:spPr>
          <a:xfrm>
            <a:off x="390860" y="74183"/>
            <a:ext cx="1821107" cy="646331"/>
          </a:xfrm>
          <a:prstGeom prst="rect">
            <a:avLst/>
          </a:prstGeom>
          <a:solidFill>
            <a:srgbClr val="020088"/>
          </a:solidFill>
        </p:spPr>
        <p:txBody>
          <a:bodyPr wrap="square" rtlCol="0">
            <a:spAutoFit/>
          </a:bodyPr>
          <a:lstStyle>
            <a:defPPr>
              <a:defRPr lang="fr-FR"/>
            </a:defPPr>
            <a:lvl1pPr algn="ctr">
              <a:defRPr sz="2000">
                <a:solidFill>
                  <a:schemeClr val="bg1"/>
                </a:solidFill>
                <a:latin typeface="Lato  "/>
              </a:defRPr>
            </a:lvl1pPr>
          </a:lstStyle>
          <a:p>
            <a:r>
              <a:rPr lang="it-IT" sz="1800" dirty="0"/>
              <a:t>Environnement </a:t>
            </a:r>
          </a:p>
          <a:p>
            <a:r>
              <a:rPr lang="it-IT" sz="1800" dirty="0"/>
              <a:t>du projet</a:t>
            </a:r>
            <a:endParaRPr lang="fr-FR" sz="1800" dirty="0"/>
          </a:p>
        </p:txBody>
      </p:sp>
      <p:sp>
        <p:nvSpPr>
          <p:cNvPr id="24" name="ZoneTexte 54">
            <a:extLst>
              <a:ext uri="{FF2B5EF4-FFF2-40B4-BE49-F238E27FC236}">
                <a16:creationId xmlns:a16="http://schemas.microsoft.com/office/drawing/2014/main" id="{515D5E1E-386C-4A56-BAA6-DFF584A7AE20}"/>
              </a:ext>
            </a:extLst>
          </p:cNvPr>
          <p:cNvSpPr txBox="1"/>
          <p:nvPr/>
        </p:nvSpPr>
        <p:spPr>
          <a:xfrm>
            <a:off x="6433678" y="74184"/>
            <a:ext cx="1784587" cy="646331"/>
          </a:xfrm>
          <a:prstGeom prst="rect">
            <a:avLst/>
          </a:prstGeom>
          <a:solidFill>
            <a:schemeClr val="bg2"/>
          </a:solidFill>
        </p:spPr>
        <p:txBody>
          <a:bodyPr wrap="square" rtlCol="0">
            <a:spAutoFit/>
          </a:bodyPr>
          <a:lstStyle>
            <a:defPPr>
              <a:defRPr lang="fr-FR"/>
            </a:defPPr>
            <a:lvl1pPr algn="ctr">
              <a:defRPr sz="2000">
                <a:latin typeface="Lato  "/>
              </a:defRPr>
            </a:lvl1pPr>
          </a:lstStyle>
          <a:p>
            <a:r>
              <a:rPr lang="it-IT" sz="1800" dirty="0"/>
              <a:t>Mise en oeuvre du projet</a:t>
            </a:r>
            <a:endParaRPr lang="fr-FR" sz="1800" dirty="0"/>
          </a:p>
        </p:txBody>
      </p:sp>
      <p:sp>
        <p:nvSpPr>
          <p:cNvPr id="25" name="ZoneTexte 55">
            <a:extLst>
              <a:ext uri="{FF2B5EF4-FFF2-40B4-BE49-F238E27FC236}">
                <a16:creationId xmlns:a16="http://schemas.microsoft.com/office/drawing/2014/main" id="{DEBCDC60-31C8-43D4-845C-64BD1B320B80}"/>
              </a:ext>
            </a:extLst>
          </p:cNvPr>
          <p:cNvSpPr txBox="1"/>
          <p:nvPr/>
        </p:nvSpPr>
        <p:spPr>
          <a:xfrm>
            <a:off x="9319488" y="74730"/>
            <a:ext cx="1752879" cy="646331"/>
          </a:xfrm>
          <a:prstGeom prst="rect">
            <a:avLst/>
          </a:prstGeom>
          <a:solidFill>
            <a:schemeClr val="bg2"/>
          </a:solidFill>
        </p:spPr>
        <p:txBody>
          <a:bodyPr wrap="square" rtlCol="0">
            <a:spAutoFit/>
          </a:bodyPr>
          <a:lstStyle/>
          <a:p>
            <a:pPr algn="ctr"/>
            <a:r>
              <a:rPr lang="it-IT" dirty="0">
                <a:latin typeface="Lato  "/>
              </a:rPr>
              <a:t>Conclusion et</a:t>
            </a:r>
          </a:p>
          <a:p>
            <a:pPr algn="ctr"/>
            <a:r>
              <a:rPr lang="it-IT" dirty="0">
                <a:latin typeface="Lato  "/>
              </a:rPr>
              <a:t> Perspectives</a:t>
            </a:r>
            <a:endParaRPr lang="fr-FR" dirty="0">
              <a:latin typeface="Lato  "/>
            </a:endParaRPr>
          </a:p>
        </p:txBody>
      </p:sp>
      <p:cxnSp>
        <p:nvCxnSpPr>
          <p:cNvPr id="26" name="Connecteur droit 56">
            <a:extLst>
              <a:ext uri="{FF2B5EF4-FFF2-40B4-BE49-F238E27FC236}">
                <a16:creationId xmlns:a16="http://schemas.microsoft.com/office/drawing/2014/main" id="{40509D6F-7A77-4A79-8D09-5B8EE9D8BF53}"/>
              </a:ext>
            </a:extLst>
          </p:cNvPr>
          <p:cNvCxnSpPr>
            <a:cxnSpLocks/>
          </p:cNvCxnSpPr>
          <p:nvPr/>
        </p:nvCxnSpPr>
        <p:spPr>
          <a:xfrm>
            <a:off x="11077903" y="410171"/>
            <a:ext cx="793875"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27" name="Connecteur droit 57">
            <a:extLst>
              <a:ext uri="{FF2B5EF4-FFF2-40B4-BE49-F238E27FC236}">
                <a16:creationId xmlns:a16="http://schemas.microsoft.com/office/drawing/2014/main" id="{5D8DB066-5190-4010-BAB8-FB03C83B59BE}"/>
              </a:ext>
            </a:extLst>
          </p:cNvPr>
          <p:cNvCxnSpPr>
            <a:cxnSpLocks/>
            <a:stCxn id="23" idx="3"/>
            <a:endCxn id="36" idx="1"/>
          </p:cNvCxnSpPr>
          <p:nvPr/>
        </p:nvCxnSpPr>
        <p:spPr>
          <a:xfrm>
            <a:off x="2211967" y="397349"/>
            <a:ext cx="1101223"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28" name="Connecteur droit 58">
            <a:extLst>
              <a:ext uri="{FF2B5EF4-FFF2-40B4-BE49-F238E27FC236}">
                <a16:creationId xmlns:a16="http://schemas.microsoft.com/office/drawing/2014/main" id="{F52514C4-F4B6-4E32-8220-1A70AF09747B}"/>
              </a:ext>
            </a:extLst>
          </p:cNvPr>
          <p:cNvCxnSpPr>
            <a:cxnSpLocks/>
            <a:stCxn id="24" idx="3"/>
            <a:endCxn id="25" idx="1"/>
          </p:cNvCxnSpPr>
          <p:nvPr/>
        </p:nvCxnSpPr>
        <p:spPr>
          <a:xfrm>
            <a:off x="8218265" y="397350"/>
            <a:ext cx="1101223" cy="546"/>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29" name="Group 3">
            <a:extLst>
              <a:ext uri="{FF2B5EF4-FFF2-40B4-BE49-F238E27FC236}">
                <a16:creationId xmlns:a16="http://schemas.microsoft.com/office/drawing/2014/main" id="{E0F03A00-CEA3-4CB4-A981-EEB2283FA791}"/>
              </a:ext>
            </a:extLst>
          </p:cNvPr>
          <p:cNvGrpSpPr/>
          <p:nvPr/>
        </p:nvGrpSpPr>
        <p:grpSpPr>
          <a:xfrm rot="10800000">
            <a:off x="11632841" y="410171"/>
            <a:ext cx="504000" cy="6352766"/>
            <a:chOff x="-5771165" y="1295207"/>
            <a:chExt cx="504000" cy="6352766"/>
          </a:xfrm>
          <a:solidFill>
            <a:srgbClr val="020088"/>
          </a:solidFill>
        </p:grpSpPr>
        <p:cxnSp>
          <p:nvCxnSpPr>
            <p:cNvPr id="30" name="Straight Connector 9">
              <a:extLst>
                <a:ext uri="{FF2B5EF4-FFF2-40B4-BE49-F238E27FC236}">
                  <a16:creationId xmlns:a16="http://schemas.microsoft.com/office/drawing/2014/main" id="{C655BFCD-1680-4414-9911-739048F290CE}"/>
                </a:ext>
              </a:extLst>
            </p:cNvPr>
            <p:cNvCxnSpPr>
              <a:cxnSpLocks/>
            </p:cNvCxnSpPr>
            <p:nvPr/>
          </p:nvCxnSpPr>
          <p:spPr>
            <a:xfrm rot="10800000" flipV="1">
              <a:off x="-5506102" y="1610316"/>
              <a:ext cx="0" cy="6037657"/>
            </a:xfrm>
            <a:prstGeom prst="line">
              <a:avLst/>
            </a:prstGeom>
            <a:grpFill/>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31" name="Teardrop 38">
              <a:extLst>
                <a:ext uri="{FF2B5EF4-FFF2-40B4-BE49-F238E27FC236}">
                  <a16:creationId xmlns:a16="http://schemas.microsoft.com/office/drawing/2014/main" id="{C3C2B015-B7DD-49EC-8869-F589E976E460}"/>
                </a:ext>
              </a:extLst>
            </p:cNvPr>
            <p:cNvSpPr/>
            <p:nvPr/>
          </p:nvSpPr>
          <p:spPr>
            <a:xfrm rot="8100000">
              <a:off x="-5771165" y="1295207"/>
              <a:ext cx="504000" cy="504000"/>
            </a:xfrm>
            <a:prstGeom prst="teardrop">
              <a:avLst>
                <a:gd name="adj" fmla="val 9891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a:p>
          </p:txBody>
        </p:sp>
      </p:grpSp>
      <p:sp>
        <p:nvSpPr>
          <p:cNvPr id="32" name="Espace réservé du numéro de diapositive 1">
            <a:extLst>
              <a:ext uri="{FF2B5EF4-FFF2-40B4-BE49-F238E27FC236}">
                <a16:creationId xmlns:a16="http://schemas.microsoft.com/office/drawing/2014/main" id="{2ECF5731-EC82-4E6A-99AA-42F18F316DF3}"/>
              </a:ext>
            </a:extLst>
          </p:cNvPr>
          <p:cNvSpPr txBox="1">
            <a:spLocks/>
          </p:cNvSpPr>
          <p:nvPr/>
        </p:nvSpPr>
        <p:spPr>
          <a:xfrm>
            <a:off x="9292085" y="6296927"/>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solidFill>
                <a:latin typeface="Lato"/>
              </a:rPr>
              <a:t>4</a:t>
            </a:r>
          </a:p>
        </p:txBody>
      </p:sp>
      <p:grpSp>
        <p:nvGrpSpPr>
          <p:cNvPr id="33" name="Groupe 59">
            <a:extLst>
              <a:ext uri="{FF2B5EF4-FFF2-40B4-BE49-F238E27FC236}">
                <a16:creationId xmlns:a16="http://schemas.microsoft.com/office/drawing/2014/main" id="{045E4C7D-00FB-4BEE-9CCB-55729D8DEC63}"/>
              </a:ext>
            </a:extLst>
          </p:cNvPr>
          <p:cNvGrpSpPr/>
          <p:nvPr/>
        </p:nvGrpSpPr>
        <p:grpSpPr>
          <a:xfrm>
            <a:off x="7783847" y="841128"/>
            <a:ext cx="4326579" cy="406575"/>
            <a:chOff x="3698984" y="58690"/>
            <a:chExt cx="1662580" cy="428381"/>
          </a:xfrm>
        </p:grpSpPr>
        <p:sp>
          <p:nvSpPr>
            <p:cNvPr id="34" name="ZoneTexte 60">
              <a:extLst>
                <a:ext uri="{FF2B5EF4-FFF2-40B4-BE49-F238E27FC236}">
                  <a16:creationId xmlns:a16="http://schemas.microsoft.com/office/drawing/2014/main" id="{699C7A04-45EB-4956-8F9F-0CA63BBB0F66}"/>
                </a:ext>
              </a:extLst>
            </p:cNvPr>
            <p:cNvSpPr txBox="1"/>
            <p:nvPr/>
          </p:nvSpPr>
          <p:spPr>
            <a:xfrm>
              <a:off x="3698984" y="58690"/>
              <a:ext cx="1662580" cy="356712"/>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600" dirty="0">
                  <a:solidFill>
                    <a:schemeClr val="bg2">
                      <a:lumMod val="90000"/>
                    </a:schemeClr>
                  </a:solidFill>
                  <a:latin typeface="Lato  "/>
                </a:rPr>
                <a:t>Processus de fabrication de l’atelier Tôlerie</a:t>
              </a:r>
            </a:p>
          </p:txBody>
        </p:sp>
        <p:cxnSp>
          <p:nvCxnSpPr>
            <p:cNvPr id="35" name="Connecteur droit 61">
              <a:extLst>
                <a:ext uri="{FF2B5EF4-FFF2-40B4-BE49-F238E27FC236}">
                  <a16:creationId xmlns:a16="http://schemas.microsoft.com/office/drawing/2014/main" id="{A5DC26AE-5355-4B1B-97D7-BC33792A7C2D}"/>
                </a:ext>
              </a:extLst>
            </p:cNvPr>
            <p:cNvCxnSpPr/>
            <p:nvPr/>
          </p:nvCxnSpPr>
          <p:spPr>
            <a:xfrm>
              <a:off x="4025439" y="487071"/>
              <a:ext cx="296279"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6" name="ZoneTexte 54">
            <a:extLst>
              <a:ext uri="{FF2B5EF4-FFF2-40B4-BE49-F238E27FC236}">
                <a16:creationId xmlns:a16="http://schemas.microsoft.com/office/drawing/2014/main" id="{27ADAE05-8C30-4DF2-A9E3-686D1E762004}"/>
              </a:ext>
            </a:extLst>
          </p:cNvPr>
          <p:cNvSpPr txBox="1"/>
          <p:nvPr/>
        </p:nvSpPr>
        <p:spPr>
          <a:xfrm>
            <a:off x="3313190" y="74184"/>
            <a:ext cx="2024481" cy="646331"/>
          </a:xfrm>
          <a:prstGeom prst="rect">
            <a:avLst/>
          </a:prstGeom>
          <a:solidFill>
            <a:schemeClr val="bg2"/>
          </a:solidFill>
        </p:spPr>
        <p:txBody>
          <a:bodyPr wrap="square" rtlCol="0">
            <a:spAutoFit/>
          </a:bodyPr>
          <a:lstStyle>
            <a:defPPr>
              <a:defRPr lang="fr-FR"/>
            </a:defPPr>
            <a:lvl1pPr algn="ctr">
              <a:defRPr sz="2000">
                <a:latin typeface="Lato  "/>
              </a:defRPr>
            </a:lvl1pPr>
          </a:lstStyle>
          <a:p>
            <a:r>
              <a:rPr lang="it-IT" sz="1800" dirty="0"/>
              <a:t>Contexte Général</a:t>
            </a:r>
          </a:p>
          <a:p>
            <a:r>
              <a:rPr lang="it-IT" sz="1800" dirty="0"/>
              <a:t> du projet</a:t>
            </a:r>
          </a:p>
        </p:txBody>
      </p:sp>
      <p:cxnSp>
        <p:nvCxnSpPr>
          <p:cNvPr id="37" name="Connecteur droit 57">
            <a:extLst>
              <a:ext uri="{FF2B5EF4-FFF2-40B4-BE49-F238E27FC236}">
                <a16:creationId xmlns:a16="http://schemas.microsoft.com/office/drawing/2014/main" id="{2C835E09-16E2-403E-8108-1D14FFEA0BA2}"/>
              </a:ext>
            </a:extLst>
          </p:cNvPr>
          <p:cNvCxnSpPr>
            <a:cxnSpLocks/>
            <a:stCxn id="36" idx="3"/>
            <a:endCxn id="24" idx="1"/>
          </p:cNvCxnSpPr>
          <p:nvPr/>
        </p:nvCxnSpPr>
        <p:spPr>
          <a:xfrm>
            <a:off x="5337671" y="397350"/>
            <a:ext cx="1096007" cy="0"/>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5E55B3C8-B47C-4EDF-9646-613765CC3338}"/>
              </a:ext>
            </a:extLst>
          </p:cNvPr>
          <p:cNvSpPr/>
          <p:nvPr/>
        </p:nvSpPr>
        <p:spPr>
          <a:xfrm>
            <a:off x="4549413" y="2390223"/>
            <a:ext cx="2109717" cy="1775410"/>
          </a:xfrm>
          <a:prstGeom prst="ellipse">
            <a:avLst/>
          </a:prstGeom>
          <a:noFill/>
          <a:ln w="9525" cap="flat" cmpd="sng" algn="ctr">
            <a:solidFill>
              <a:srgbClr val="F61C19"/>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fr-FR"/>
          </a:p>
        </p:txBody>
      </p:sp>
    </p:spTree>
    <p:extLst>
      <p:ext uri="{BB962C8B-B14F-4D97-AF65-F5344CB8AC3E}">
        <p14:creationId xmlns:p14="http://schemas.microsoft.com/office/powerpoint/2010/main" val="4152622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nodeType="afterEffect">
                                  <p:stCondLst>
                                    <p:cond delay="0"/>
                                  </p:stCondLst>
                                  <p:childTnLst>
                                    <p:animRot by="120000">
                                      <p:cBhvr>
                                        <p:cTn id="6" dur="100" fill="hold">
                                          <p:stCondLst>
                                            <p:cond delay="0"/>
                                          </p:stCondLst>
                                        </p:cTn>
                                        <p:tgtEl>
                                          <p:spTgt spid="20"/>
                                        </p:tgtEl>
                                        <p:attrNameLst>
                                          <p:attrName>r</p:attrName>
                                        </p:attrNameLst>
                                      </p:cBhvr>
                                    </p:animRot>
                                    <p:animRot by="-240000">
                                      <p:cBhvr>
                                        <p:cTn id="7" dur="200" fill="hold">
                                          <p:stCondLst>
                                            <p:cond delay="200"/>
                                          </p:stCondLst>
                                        </p:cTn>
                                        <p:tgtEl>
                                          <p:spTgt spid="20"/>
                                        </p:tgtEl>
                                        <p:attrNameLst>
                                          <p:attrName>r</p:attrName>
                                        </p:attrNameLst>
                                      </p:cBhvr>
                                    </p:animRot>
                                    <p:animRot by="240000">
                                      <p:cBhvr>
                                        <p:cTn id="8" dur="200" fill="hold">
                                          <p:stCondLst>
                                            <p:cond delay="400"/>
                                          </p:stCondLst>
                                        </p:cTn>
                                        <p:tgtEl>
                                          <p:spTgt spid="20"/>
                                        </p:tgtEl>
                                        <p:attrNameLst>
                                          <p:attrName>r</p:attrName>
                                        </p:attrNameLst>
                                      </p:cBhvr>
                                    </p:animRot>
                                    <p:animRot by="-240000">
                                      <p:cBhvr>
                                        <p:cTn id="9" dur="200" fill="hold">
                                          <p:stCondLst>
                                            <p:cond delay="600"/>
                                          </p:stCondLst>
                                        </p:cTn>
                                        <p:tgtEl>
                                          <p:spTgt spid="20"/>
                                        </p:tgtEl>
                                        <p:attrNameLst>
                                          <p:attrName>r</p:attrName>
                                        </p:attrNameLst>
                                      </p:cBhvr>
                                    </p:animRot>
                                    <p:animRot by="120000">
                                      <p:cBhvr>
                                        <p:cTn id="10" dur="200" fill="hold">
                                          <p:stCondLst>
                                            <p:cond delay="800"/>
                                          </p:stCondLst>
                                        </p:cTn>
                                        <p:tgtEl>
                                          <p:spTgt spid="20"/>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750"/>
                                        <p:tgtEl>
                                          <p:spTgt spid="6"/>
                                        </p:tgtEl>
                                      </p:cBhvr>
                                    </p:animEffect>
                                    <p:anim calcmode="lin" valueType="num">
                                      <p:cBhvr>
                                        <p:cTn id="16" dur="750" fill="hold"/>
                                        <p:tgtEl>
                                          <p:spTgt spid="6"/>
                                        </p:tgtEl>
                                        <p:attrNameLst>
                                          <p:attrName>ppt_x</p:attrName>
                                        </p:attrNameLst>
                                      </p:cBhvr>
                                      <p:tavLst>
                                        <p:tav tm="0">
                                          <p:val>
                                            <p:strVal val="#ppt_x"/>
                                          </p:val>
                                        </p:tav>
                                        <p:tav tm="100000">
                                          <p:val>
                                            <p:strVal val="#ppt_x"/>
                                          </p:val>
                                        </p:tav>
                                      </p:tavLst>
                                    </p:anim>
                                    <p:anim calcmode="lin" valueType="num">
                                      <p:cBhvr>
                                        <p:cTn id="17" dur="750" fill="hold"/>
                                        <p:tgtEl>
                                          <p:spTgt spid="6"/>
                                        </p:tgtEl>
                                        <p:attrNameLst>
                                          <p:attrName>ppt_y</p:attrName>
                                        </p:attrNameLst>
                                      </p:cBhvr>
                                      <p:tavLst>
                                        <p:tav tm="0">
                                          <p:val>
                                            <p:strVal val="#ppt_y+.1"/>
                                          </p:val>
                                        </p:tav>
                                        <p:tav tm="100000">
                                          <p:val>
                                            <p:strVal val="#ppt_y"/>
                                          </p:val>
                                        </p:tav>
                                      </p:tavLst>
                                    </p:anim>
                                  </p:childTnLst>
                                </p:cTn>
                              </p:par>
                            </p:childTnLst>
                          </p:cTn>
                        </p:par>
                        <p:par>
                          <p:cTn id="18" fill="hold">
                            <p:stCondLst>
                              <p:cond delay="750"/>
                            </p:stCondLst>
                            <p:childTnLst>
                              <p:par>
                                <p:cTn id="19" presetID="42" presetClass="entr" presetSubtype="0" fill="hold" grpId="0"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750"/>
                                        <p:tgtEl>
                                          <p:spTgt spid="7"/>
                                        </p:tgtEl>
                                      </p:cBhvr>
                                    </p:animEffect>
                                    <p:anim calcmode="lin" valueType="num">
                                      <p:cBhvr>
                                        <p:cTn id="22" dur="750" fill="hold"/>
                                        <p:tgtEl>
                                          <p:spTgt spid="7"/>
                                        </p:tgtEl>
                                        <p:attrNameLst>
                                          <p:attrName>ppt_x</p:attrName>
                                        </p:attrNameLst>
                                      </p:cBhvr>
                                      <p:tavLst>
                                        <p:tav tm="0">
                                          <p:val>
                                            <p:strVal val="#ppt_x"/>
                                          </p:val>
                                        </p:tav>
                                        <p:tav tm="100000">
                                          <p:val>
                                            <p:strVal val="#ppt_x"/>
                                          </p:val>
                                        </p:tav>
                                      </p:tavLst>
                                    </p:anim>
                                    <p:anim calcmode="lin" valueType="num">
                                      <p:cBhvr>
                                        <p:cTn id="23" dur="750" fill="hold"/>
                                        <p:tgtEl>
                                          <p:spTgt spid="7"/>
                                        </p:tgtEl>
                                        <p:attrNameLst>
                                          <p:attrName>ppt_y</p:attrName>
                                        </p:attrNameLst>
                                      </p:cBhvr>
                                      <p:tavLst>
                                        <p:tav tm="0">
                                          <p:val>
                                            <p:strVal val="#ppt_y+.1"/>
                                          </p:val>
                                        </p:tav>
                                        <p:tav tm="100000">
                                          <p:val>
                                            <p:strVal val="#ppt_y"/>
                                          </p:val>
                                        </p:tav>
                                      </p:tavLst>
                                    </p:anim>
                                  </p:childTnLst>
                                </p:cTn>
                              </p:par>
                            </p:childTnLst>
                          </p:cTn>
                        </p:par>
                        <p:par>
                          <p:cTn id="24" fill="hold">
                            <p:stCondLst>
                              <p:cond delay="1500"/>
                            </p:stCondLst>
                            <p:childTnLst>
                              <p:par>
                                <p:cTn id="25" presetID="42" presetClass="entr" presetSubtype="0"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750"/>
                                        <p:tgtEl>
                                          <p:spTgt spid="15"/>
                                        </p:tgtEl>
                                      </p:cBhvr>
                                    </p:animEffect>
                                    <p:anim calcmode="lin" valueType="num">
                                      <p:cBhvr>
                                        <p:cTn id="28" dur="750" fill="hold"/>
                                        <p:tgtEl>
                                          <p:spTgt spid="15"/>
                                        </p:tgtEl>
                                        <p:attrNameLst>
                                          <p:attrName>ppt_x</p:attrName>
                                        </p:attrNameLst>
                                      </p:cBhvr>
                                      <p:tavLst>
                                        <p:tav tm="0">
                                          <p:val>
                                            <p:strVal val="#ppt_x"/>
                                          </p:val>
                                        </p:tav>
                                        <p:tav tm="100000">
                                          <p:val>
                                            <p:strVal val="#ppt_x"/>
                                          </p:val>
                                        </p:tav>
                                      </p:tavLst>
                                    </p:anim>
                                    <p:anim calcmode="lin" valueType="num">
                                      <p:cBhvr>
                                        <p:cTn id="29" dur="750" fill="hold"/>
                                        <p:tgtEl>
                                          <p:spTgt spid="15"/>
                                        </p:tgtEl>
                                        <p:attrNameLst>
                                          <p:attrName>ppt_y</p:attrName>
                                        </p:attrNameLst>
                                      </p:cBhvr>
                                      <p:tavLst>
                                        <p:tav tm="0">
                                          <p:val>
                                            <p:strVal val="#ppt_y+.1"/>
                                          </p:val>
                                        </p:tav>
                                        <p:tav tm="100000">
                                          <p:val>
                                            <p:strVal val="#ppt_y"/>
                                          </p:val>
                                        </p:tav>
                                      </p:tavLst>
                                    </p:anim>
                                  </p:childTnLst>
                                </p:cTn>
                              </p:par>
                            </p:childTnLst>
                          </p:cTn>
                        </p:par>
                        <p:par>
                          <p:cTn id="30" fill="hold">
                            <p:stCondLst>
                              <p:cond delay="2250"/>
                            </p:stCondLst>
                            <p:childTnLst>
                              <p:par>
                                <p:cTn id="31" presetID="42" presetClass="entr" presetSubtype="0" fill="hold" grpId="0" nodeType="after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750"/>
                                        <p:tgtEl>
                                          <p:spTgt spid="16"/>
                                        </p:tgtEl>
                                      </p:cBhvr>
                                    </p:animEffect>
                                    <p:anim calcmode="lin" valueType="num">
                                      <p:cBhvr>
                                        <p:cTn id="34" dur="750" fill="hold"/>
                                        <p:tgtEl>
                                          <p:spTgt spid="16"/>
                                        </p:tgtEl>
                                        <p:attrNameLst>
                                          <p:attrName>ppt_x</p:attrName>
                                        </p:attrNameLst>
                                      </p:cBhvr>
                                      <p:tavLst>
                                        <p:tav tm="0">
                                          <p:val>
                                            <p:strVal val="#ppt_x"/>
                                          </p:val>
                                        </p:tav>
                                        <p:tav tm="100000">
                                          <p:val>
                                            <p:strVal val="#ppt_x"/>
                                          </p:val>
                                        </p:tav>
                                      </p:tavLst>
                                    </p:anim>
                                    <p:anim calcmode="lin" valueType="num">
                                      <p:cBhvr>
                                        <p:cTn id="35" dur="750" fill="hold"/>
                                        <p:tgtEl>
                                          <p:spTgt spid="16"/>
                                        </p:tgtEl>
                                        <p:attrNameLst>
                                          <p:attrName>ppt_y</p:attrName>
                                        </p:attrNameLst>
                                      </p:cBhvr>
                                      <p:tavLst>
                                        <p:tav tm="0">
                                          <p:val>
                                            <p:strVal val="#ppt_y+.1"/>
                                          </p:val>
                                        </p:tav>
                                        <p:tav tm="100000">
                                          <p:val>
                                            <p:strVal val="#ppt_y"/>
                                          </p:val>
                                        </p:tav>
                                      </p:tavLst>
                                    </p:anim>
                                  </p:childTnLst>
                                </p:cTn>
                              </p:par>
                            </p:childTnLst>
                          </p:cTn>
                        </p:par>
                        <p:par>
                          <p:cTn id="36" fill="hold">
                            <p:stCondLst>
                              <p:cond delay="3000"/>
                            </p:stCondLst>
                            <p:childTnLst>
                              <p:par>
                                <p:cTn id="37" presetID="42" presetClass="entr" presetSubtype="0" fill="hold" grpId="0" nodeType="after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fade">
                                      <p:cBhvr>
                                        <p:cTn id="39" dur="750"/>
                                        <p:tgtEl>
                                          <p:spTgt spid="8"/>
                                        </p:tgtEl>
                                      </p:cBhvr>
                                    </p:animEffect>
                                    <p:anim calcmode="lin" valueType="num">
                                      <p:cBhvr>
                                        <p:cTn id="40" dur="750" fill="hold"/>
                                        <p:tgtEl>
                                          <p:spTgt spid="8"/>
                                        </p:tgtEl>
                                        <p:attrNameLst>
                                          <p:attrName>ppt_x</p:attrName>
                                        </p:attrNameLst>
                                      </p:cBhvr>
                                      <p:tavLst>
                                        <p:tav tm="0">
                                          <p:val>
                                            <p:strVal val="#ppt_x"/>
                                          </p:val>
                                        </p:tav>
                                        <p:tav tm="100000">
                                          <p:val>
                                            <p:strVal val="#ppt_x"/>
                                          </p:val>
                                        </p:tav>
                                      </p:tavLst>
                                    </p:anim>
                                    <p:anim calcmode="lin" valueType="num">
                                      <p:cBhvr>
                                        <p:cTn id="41" dur="75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nodeType="clickEffect">
                                  <p:stCondLst>
                                    <p:cond delay="0"/>
                                  </p:stCondLst>
                                  <p:childTnLst>
                                    <p:animEffect transition="out" filter="fade">
                                      <p:cBhvr>
                                        <p:cTn id="45" dur="250"/>
                                        <p:tgtEl>
                                          <p:spTgt spid="6"/>
                                        </p:tgtEl>
                                      </p:cBhvr>
                                    </p:animEffect>
                                    <p:set>
                                      <p:cBhvr>
                                        <p:cTn id="46" dur="1" fill="hold">
                                          <p:stCondLst>
                                            <p:cond delay="249"/>
                                          </p:stCondLst>
                                        </p:cTn>
                                        <p:tgtEl>
                                          <p:spTgt spid="6"/>
                                        </p:tgtEl>
                                        <p:attrNameLst>
                                          <p:attrName>style.visibility</p:attrName>
                                        </p:attrNameLst>
                                      </p:cBhvr>
                                      <p:to>
                                        <p:strVal val="hidden"/>
                                      </p:to>
                                    </p:set>
                                  </p:childTnLst>
                                </p:cTn>
                              </p:par>
                            </p:childTnLst>
                          </p:cTn>
                        </p:par>
                        <p:par>
                          <p:cTn id="47" fill="hold">
                            <p:stCondLst>
                              <p:cond delay="250"/>
                            </p:stCondLst>
                            <p:childTnLst>
                              <p:par>
                                <p:cTn id="48" presetID="56" presetClass="path" presetSubtype="0" accel="50000" decel="50000" fill="hold" grpId="1" nodeType="afterEffect">
                                  <p:stCondLst>
                                    <p:cond delay="0"/>
                                  </p:stCondLst>
                                  <p:childTnLst>
                                    <p:animMotion origin="layout" path="M 4.58333E-6 -1.11111E-6 L 0.27291 -0.33217 " pathEditMode="relative" rAng="0" ptsTypes="AA">
                                      <p:cBhvr>
                                        <p:cTn id="49" dur="500" fill="hold"/>
                                        <p:tgtEl>
                                          <p:spTgt spid="7"/>
                                        </p:tgtEl>
                                        <p:attrNameLst>
                                          <p:attrName>ppt_x</p:attrName>
                                          <p:attrName>ppt_y</p:attrName>
                                        </p:attrNameLst>
                                      </p:cBhvr>
                                      <p:rCtr x="13646" y="-16620"/>
                                    </p:animMotion>
                                  </p:childTnLst>
                                </p:cTn>
                              </p:par>
                              <p:par>
                                <p:cTn id="50" presetID="56" presetClass="path" presetSubtype="0" accel="50000" decel="50000" fill="hold" grpId="1" nodeType="withEffect">
                                  <p:stCondLst>
                                    <p:cond delay="0"/>
                                  </p:stCondLst>
                                  <p:childTnLst>
                                    <p:animMotion origin="layout" path="M 2.70833E-6 -1.11111E-6 L 0.07604 -0.12245 " pathEditMode="relative" rAng="0" ptsTypes="AA">
                                      <p:cBhvr>
                                        <p:cTn id="51" dur="500" fill="hold"/>
                                        <p:tgtEl>
                                          <p:spTgt spid="15"/>
                                        </p:tgtEl>
                                        <p:attrNameLst>
                                          <p:attrName>ppt_x</p:attrName>
                                          <p:attrName>ppt_y</p:attrName>
                                        </p:attrNameLst>
                                      </p:cBhvr>
                                      <p:rCtr x="3802" y="-6134"/>
                                    </p:animMotion>
                                  </p:childTnLst>
                                </p:cTn>
                              </p:par>
                              <p:par>
                                <p:cTn id="52" presetID="49" presetClass="path" presetSubtype="0" accel="50000" decel="50000" fill="hold" grpId="1" nodeType="withEffect">
                                  <p:stCondLst>
                                    <p:cond delay="0"/>
                                  </p:stCondLst>
                                  <p:childTnLst>
                                    <p:animMotion origin="layout" path="M -3.54167E-6 -1.11111E-6 L -0.12083 0.08727 " pathEditMode="relative" rAng="0" ptsTypes="AA">
                                      <p:cBhvr>
                                        <p:cTn id="53" dur="500" fill="hold"/>
                                        <p:tgtEl>
                                          <p:spTgt spid="16"/>
                                        </p:tgtEl>
                                        <p:attrNameLst>
                                          <p:attrName>ppt_x</p:attrName>
                                          <p:attrName>ppt_y</p:attrName>
                                        </p:attrNameLst>
                                      </p:cBhvr>
                                      <p:rCtr x="-6042" y="4352"/>
                                    </p:animMotion>
                                  </p:childTnLst>
                                </p:cTn>
                              </p:par>
                              <p:par>
                                <p:cTn id="54" presetID="49" presetClass="path" presetSubtype="0" accel="50000" decel="50000" fill="hold" grpId="1" nodeType="withEffect">
                                  <p:stCondLst>
                                    <p:cond delay="0"/>
                                  </p:stCondLst>
                                  <p:childTnLst>
                                    <p:animMotion origin="layout" path="M 2.08333E-7 -1.11111E-6 L -0.31979 0.29676 " pathEditMode="relative" rAng="0" ptsTypes="AA">
                                      <p:cBhvr>
                                        <p:cTn id="55" dur="500" fill="hold"/>
                                        <p:tgtEl>
                                          <p:spTgt spid="8"/>
                                        </p:tgtEl>
                                        <p:attrNameLst>
                                          <p:attrName>ppt_x</p:attrName>
                                          <p:attrName>ppt_y</p:attrName>
                                        </p:attrNameLst>
                                      </p:cBhvr>
                                      <p:rCtr x="-15990" y="14838"/>
                                    </p:animMotion>
                                  </p:childTnLst>
                                </p:cTn>
                              </p:par>
                            </p:childTnLst>
                          </p:cTn>
                        </p:par>
                      </p:childTnLst>
                    </p:cTn>
                  </p:par>
                  <p:par>
                    <p:cTn id="56" fill="hold">
                      <p:stCondLst>
                        <p:cond delay="indefinite"/>
                      </p:stCondLst>
                      <p:childTnLst>
                        <p:par>
                          <p:cTn id="57" fill="hold">
                            <p:stCondLst>
                              <p:cond delay="0"/>
                            </p:stCondLst>
                            <p:childTnLst>
                              <p:par>
                                <p:cTn id="58" presetID="63" presetClass="path" presetSubtype="0" accel="50000" decel="50000" fill="hold" nodeType="clickEffect">
                                  <p:stCondLst>
                                    <p:cond delay="0"/>
                                  </p:stCondLst>
                                  <p:childTnLst>
                                    <p:animMotion origin="layout" path="M -0.00434 2.96022E-7 L 0.44792 2.96022E-7 " pathEditMode="relative" rAng="0" ptsTypes="AA">
                                      <p:cBhvr>
                                        <p:cTn id="59" dur="1000" fill="hold"/>
                                        <p:tgtEl>
                                          <p:spTgt spid="9"/>
                                        </p:tgtEl>
                                        <p:attrNameLst>
                                          <p:attrName>ppt_x</p:attrName>
                                          <p:attrName>ppt_y</p:attrName>
                                        </p:attrNameLst>
                                      </p:cBhvr>
                                      <p:rCtr x="22604" y="0"/>
                                    </p:animMotion>
                                  </p:childTnLst>
                                </p:cTn>
                              </p:par>
                              <p:par>
                                <p:cTn id="60" presetID="63" presetClass="path" presetSubtype="0" accel="50000" decel="50000" fill="hold" nodeType="withEffect">
                                  <p:stCondLst>
                                    <p:cond delay="0"/>
                                  </p:stCondLst>
                                  <p:childTnLst>
                                    <p:animMotion origin="layout" path="M -0.01632 -1.66512E-6 L 0.44827 -0.00162 " pathEditMode="relative" rAng="0" ptsTypes="AA">
                                      <p:cBhvr>
                                        <p:cTn id="61" dur="1000" fill="hold"/>
                                        <p:tgtEl>
                                          <p:spTgt spid="10"/>
                                        </p:tgtEl>
                                        <p:attrNameLst>
                                          <p:attrName>ppt_x</p:attrName>
                                          <p:attrName>ppt_y</p:attrName>
                                        </p:attrNameLst>
                                      </p:cBhvr>
                                      <p:rCtr x="23229" y="-93"/>
                                    </p:animMotion>
                                  </p:childTnLst>
                                </p:cTn>
                              </p:par>
                            </p:childTnLst>
                          </p:cTn>
                        </p:par>
                      </p:childTnLst>
                    </p:cTn>
                  </p:par>
                  <p:par>
                    <p:cTn id="62" fill="hold">
                      <p:stCondLst>
                        <p:cond delay="indefinite"/>
                      </p:stCondLst>
                      <p:childTnLst>
                        <p:par>
                          <p:cTn id="63" fill="hold">
                            <p:stCondLst>
                              <p:cond delay="0"/>
                            </p:stCondLst>
                            <p:childTnLst>
                              <p:par>
                                <p:cTn id="64" presetID="63" presetClass="path" presetSubtype="0" accel="50000" decel="50000" fill="hold" nodeType="clickEffect">
                                  <p:stCondLst>
                                    <p:cond delay="0"/>
                                  </p:stCondLst>
                                  <p:childTnLst>
                                    <p:animMotion origin="layout" path="M 0.44445 2.96022E-7 L 0.52205 2.96022E-7 " pathEditMode="relative" rAng="0" ptsTypes="AA">
                                      <p:cBhvr>
                                        <p:cTn id="65" dur="1000" fill="hold"/>
                                        <p:tgtEl>
                                          <p:spTgt spid="9"/>
                                        </p:tgtEl>
                                        <p:attrNameLst>
                                          <p:attrName>ppt_x</p:attrName>
                                          <p:attrName>ppt_y</p:attrName>
                                        </p:attrNameLst>
                                      </p:cBhvr>
                                      <p:rCtr x="3872" y="0"/>
                                    </p:animMotion>
                                  </p:childTnLst>
                                </p:cTn>
                              </p:par>
                              <p:par>
                                <p:cTn id="66" presetID="10" presetClass="exit" presetSubtype="0" fill="hold" nodeType="withEffect">
                                  <p:stCondLst>
                                    <p:cond delay="0"/>
                                  </p:stCondLst>
                                  <p:childTnLst>
                                    <p:animEffect transition="out" filter="fade">
                                      <p:cBhvr>
                                        <p:cTn id="67" dur="800"/>
                                        <p:tgtEl>
                                          <p:spTgt spid="9"/>
                                        </p:tgtEl>
                                      </p:cBhvr>
                                    </p:animEffect>
                                    <p:set>
                                      <p:cBhvr>
                                        <p:cTn id="68" dur="1" fill="hold">
                                          <p:stCondLst>
                                            <p:cond delay="799"/>
                                          </p:stCondLst>
                                        </p:cTn>
                                        <p:tgtEl>
                                          <p:spTgt spid="9"/>
                                        </p:tgtEl>
                                        <p:attrNameLst>
                                          <p:attrName>style.visibility</p:attrName>
                                        </p:attrNameLst>
                                      </p:cBhvr>
                                      <p:to>
                                        <p:strVal val="hidden"/>
                                      </p:to>
                                    </p:set>
                                  </p:childTnLst>
                                </p:cTn>
                              </p:par>
                            </p:childTnLst>
                          </p:cTn>
                        </p:par>
                      </p:childTnLst>
                    </p:cTn>
                  </p:par>
                  <p:par>
                    <p:cTn id="69" fill="hold">
                      <p:stCondLst>
                        <p:cond delay="indefinite"/>
                      </p:stCondLst>
                      <p:childTnLst>
                        <p:par>
                          <p:cTn id="70" fill="hold">
                            <p:stCondLst>
                              <p:cond delay="0"/>
                            </p:stCondLst>
                            <p:childTnLst>
                              <p:par>
                                <p:cTn id="71" presetID="10" presetClass="exit" presetSubtype="0" fill="hold" nodeType="clickEffect">
                                  <p:stCondLst>
                                    <p:cond delay="0"/>
                                  </p:stCondLst>
                                  <p:childTnLst>
                                    <p:animEffect transition="out" filter="fade">
                                      <p:cBhvr>
                                        <p:cTn id="72" dur="500"/>
                                        <p:tgtEl>
                                          <p:spTgt spid="9"/>
                                        </p:tgtEl>
                                      </p:cBhvr>
                                    </p:animEffect>
                                    <p:set>
                                      <p:cBhvr>
                                        <p:cTn id="73" dur="1" fill="hold">
                                          <p:stCondLst>
                                            <p:cond delay="499"/>
                                          </p:stCondLst>
                                        </p:cTn>
                                        <p:tgtEl>
                                          <p:spTgt spid="9"/>
                                        </p:tgtEl>
                                        <p:attrNameLst>
                                          <p:attrName>style.visibility</p:attrName>
                                        </p:attrNameLst>
                                      </p:cBhvr>
                                      <p:to>
                                        <p:strVal val="hidden"/>
                                      </p:to>
                                    </p:set>
                                  </p:childTnLst>
                                </p:cTn>
                              </p:par>
                              <p:par>
                                <p:cTn id="74" presetID="10" presetClass="exit" presetSubtype="0" fill="hold" nodeType="withEffect">
                                  <p:stCondLst>
                                    <p:cond delay="0"/>
                                  </p:stCondLst>
                                  <p:childTnLst>
                                    <p:animEffect transition="out" filter="fade">
                                      <p:cBhvr>
                                        <p:cTn id="75" dur="500"/>
                                        <p:tgtEl>
                                          <p:spTgt spid="10"/>
                                        </p:tgtEl>
                                      </p:cBhvr>
                                    </p:animEffect>
                                    <p:set>
                                      <p:cBhvr>
                                        <p:cTn id="76" dur="1" fill="hold">
                                          <p:stCondLst>
                                            <p:cond delay="499"/>
                                          </p:stCondLst>
                                        </p:cTn>
                                        <p:tgtEl>
                                          <p:spTgt spid="10"/>
                                        </p:tgtEl>
                                        <p:attrNameLst>
                                          <p:attrName>style.visibility</p:attrName>
                                        </p:attrNameLst>
                                      </p:cBhvr>
                                      <p:to>
                                        <p:strVal val="hidden"/>
                                      </p:to>
                                    </p:set>
                                  </p:childTnLst>
                                </p:cTn>
                              </p:par>
                            </p:childTnLst>
                          </p:cTn>
                        </p:par>
                        <p:par>
                          <p:cTn id="77" fill="hold">
                            <p:stCondLst>
                              <p:cond delay="500"/>
                            </p:stCondLst>
                            <p:childTnLst>
                              <p:par>
                                <p:cTn id="78" presetID="10" presetClass="entr" presetSubtype="0" fill="hold" nodeType="afterEffect">
                                  <p:stCondLst>
                                    <p:cond delay="0"/>
                                  </p:stCondLst>
                                  <p:childTnLst>
                                    <p:set>
                                      <p:cBhvr>
                                        <p:cTn id="79" dur="1" fill="hold">
                                          <p:stCondLst>
                                            <p:cond delay="0"/>
                                          </p:stCondLst>
                                        </p:cTn>
                                        <p:tgtEl>
                                          <p:spTgt spid="11"/>
                                        </p:tgtEl>
                                        <p:attrNameLst>
                                          <p:attrName>style.visibility</p:attrName>
                                        </p:attrNameLst>
                                      </p:cBhvr>
                                      <p:to>
                                        <p:strVal val="visible"/>
                                      </p:to>
                                    </p:set>
                                    <p:animEffect transition="in" filter="fade">
                                      <p:cBhvr>
                                        <p:cTn id="80" dur="1200"/>
                                        <p:tgtEl>
                                          <p:spTgt spid="11"/>
                                        </p:tgtEl>
                                      </p:cBhvr>
                                    </p:animEffect>
                                  </p:childTnLst>
                                </p:cTn>
                              </p:par>
                              <p:par>
                                <p:cTn id="81" presetID="63" presetClass="path" presetSubtype="0" accel="50000" decel="50000" fill="hold" nodeType="withEffect">
                                  <p:stCondLst>
                                    <p:cond delay="0"/>
                                  </p:stCondLst>
                                  <p:childTnLst>
                                    <p:animMotion origin="layout" path="M -3.88889E-6 1.48148E-6 L 0.09184 1.48148E-6 " pathEditMode="relative" rAng="0" ptsTypes="AA">
                                      <p:cBhvr>
                                        <p:cTn id="82" dur="1000" fill="hold"/>
                                        <p:tgtEl>
                                          <p:spTgt spid="11"/>
                                        </p:tgtEl>
                                        <p:attrNameLst>
                                          <p:attrName>ppt_x</p:attrName>
                                          <p:attrName>ppt_y</p:attrName>
                                        </p:attrNameLst>
                                      </p:cBhvr>
                                      <p:rCtr x="4583" y="0"/>
                                    </p:animMotion>
                                  </p:childTnLst>
                                </p:cTn>
                              </p:par>
                            </p:childTnLst>
                          </p:cTn>
                        </p:par>
                      </p:childTnLst>
                    </p:cTn>
                  </p:par>
                  <p:par>
                    <p:cTn id="83" fill="hold">
                      <p:stCondLst>
                        <p:cond delay="indefinite"/>
                      </p:stCondLst>
                      <p:childTnLst>
                        <p:par>
                          <p:cTn id="84" fill="hold">
                            <p:stCondLst>
                              <p:cond delay="0"/>
                            </p:stCondLst>
                            <p:childTnLst>
                              <p:par>
                                <p:cTn id="85" presetID="58" presetClass="path" presetSubtype="0" accel="50000" decel="50000" fill="hold" nodeType="clickEffect">
                                  <p:stCondLst>
                                    <p:cond delay="0"/>
                                  </p:stCondLst>
                                  <p:childTnLst>
                                    <p:animMotion origin="layout" path="M 0.09184 3.26549E-6 L 0.10903 0.05758 C 0.11302 0.06961 0.11528 0.08788 0.11528 0.10707 C 0.11528 0.12858 0.11302 0.1457 0.10903 0.15772 L 0.09184 0.21623 " pathEditMode="relative" rAng="0" ptsTypes="FffFF">
                                      <p:cBhvr>
                                        <p:cTn id="86" dur="1000" fill="hold"/>
                                        <p:tgtEl>
                                          <p:spTgt spid="11"/>
                                        </p:tgtEl>
                                        <p:attrNameLst>
                                          <p:attrName>ppt_x</p:attrName>
                                          <p:attrName>ppt_y</p:attrName>
                                        </p:attrNameLst>
                                      </p:cBhvr>
                                      <p:rCtr x="1163" y="10800"/>
                                    </p:animMotion>
                                  </p:childTnLst>
                                </p:cTn>
                              </p:par>
                            </p:childTnLst>
                          </p:cTn>
                        </p:par>
                        <p:par>
                          <p:cTn id="87" fill="hold">
                            <p:stCondLst>
                              <p:cond delay="1000"/>
                            </p:stCondLst>
                            <p:childTnLst>
                              <p:par>
                                <p:cTn id="88" presetID="35" presetClass="path" presetSubtype="0" accel="50000" decel="50000" fill="hold" nodeType="afterEffect">
                                  <p:stCondLst>
                                    <p:cond delay="0"/>
                                  </p:stCondLst>
                                  <p:childTnLst>
                                    <p:animMotion origin="layout" path="M 0.09184 0.2162 L -0.01076 0.2162 " pathEditMode="relative" rAng="0" ptsTypes="AA">
                                      <p:cBhvr>
                                        <p:cTn id="89" dur="1000" fill="hold"/>
                                        <p:tgtEl>
                                          <p:spTgt spid="11"/>
                                        </p:tgtEl>
                                        <p:attrNameLst>
                                          <p:attrName>ppt_x</p:attrName>
                                          <p:attrName>ppt_y</p:attrName>
                                        </p:attrNameLst>
                                      </p:cBhvr>
                                      <p:rCtr x="-5139" y="0"/>
                                    </p:animMotion>
                                  </p:childTnLst>
                                </p:cTn>
                              </p:par>
                              <p:par>
                                <p:cTn id="90" presetID="10" presetClass="exit" presetSubtype="0" fill="hold" nodeType="withEffect">
                                  <p:stCondLst>
                                    <p:cond delay="0"/>
                                  </p:stCondLst>
                                  <p:childTnLst>
                                    <p:animEffect transition="out" filter="fade">
                                      <p:cBhvr>
                                        <p:cTn id="91" dur="500"/>
                                        <p:tgtEl>
                                          <p:spTgt spid="11"/>
                                        </p:tgtEl>
                                      </p:cBhvr>
                                    </p:animEffect>
                                    <p:set>
                                      <p:cBhvr>
                                        <p:cTn id="92" dur="1" fill="hold">
                                          <p:stCondLst>
                                            <p:cond delay="499"/>
                                          </p:stCondLst>
                                        </p:cTn>
                                        <p:tgtEl>
                                          <p:spTgt spid="11"/>
                                        </p:tgtEl>
                                        <p:attrNameLst>
                                          <p:attrName>style.visibility</p:attrName>
                                        </p:attrNameLst>
                                      </p:cBhvr>
                                      <p:to>
                                        <p:strVal val="hidden"/>
                                      </p:to>
                                    </p:set>
                                  </p:childTnLst>
                                </p:cTn>
                              </p:par>
                              <p:par>
                                <p:cTn id="93" presetID="10" presetClass="entr" presetSubtype="0" fill="hold" nodeType="withEffect">
                                  <p:stCondLst>
                                    <p:cond delay="0"/>
                                  </p:stCondLst>
                                  <p:childTnLst>
                                    <p:set>
                                      <p:cBhvr>
                                        <p:cTn id="94" dur="1" fill="hold">
                                          <p:stCondLst>
                                            <p:cond delay="0"/>
                                          </p:stCondLst>
                                        </p:cTn>
                                        <p:tgtEl>
                                          <p:spTgt spid="12"/>
                                        </p:tgtEl>
                                        <p:attrNameLst>
                                          <p:attrName>style.visibility</p:attrName>
                                        </p:attrNameLst>
                                      </p:cBhvr>
                                      <p:to>
                                        <p:strVal val="visible"/>
                                      </p:to>
                                    </p:set>
                                    <p:animEffect transition="in" filter="fade">
                                      <p:cBhvr>
                                        <p:cTn id="95" dur="1500"/>
                                        <p:tgtEl>
                                          <p:spTgt spid="12"/>
                                        </p:tgtEl>
                                      </p:cBhvr>
                                    </p:animEffect>
                                  </p:childTnLst>
                                </p:cTn>
                              </p:par>
                              <p:par>
                                <p:cTn id="96" presetID="63" presetClass="path" presetSubtype="0" accel="50000" decel="50000" fill="hold" nodeType="withEffect">
                                  <p:stCondLst>
                                    <p:cond delay="0"/>
                                  </p:stCondLst>
                                  <p:childTnLst>
                                    <p:animMotion origin="layout" path="M 4.16667E-7 -2.59259E-6 L -0.07695 -2.59259E-6 " pathEditMode="relative" rAng="0" ptsTypes="AA">
                                      <p:cBhvr>
                                        <p:cTn id="97" dur="1000" fill="hold"/>
                                        <p:tgtEl>
                                          <p:spTgt spid="12"/>
                                        </p:tgtEl>
                                        <p:attrNameLst>
                                          <p:attrName>ppt_x</p:attrName>
                                          <p:attrName>ppt_y</p:attrName>
                                        </p:attrNameLst>
                                      </p:cBhvr>
                                      <p:rCtr x="-3854" y="0"/>
                                    </p:animMotion>
                                  </p:childTnLst>
                                </p:cTn>
                              </p:par>
                            </p:childTnLst>
                          </p:cTn>
                        </p:par>
                      </p:childTnLst>
                    </p:cTn>
                  </p:par>
                  <p:par>
                    <p:cTn id="98" fill="hold">
                      <p:stCondLst>
                        <p:cond delay="indefinite"/>
                      </p:stCondLst>
                      <p:childTnLst>
                        <p:par>
                          <p:cTn id="99" fill="hold">
                            <p:stCondLst>
                              <p:cond delay="0"/>
                            </p:stCondLst>
                            <p:childTnLst>
                              <p:par>
                                <p:cTn id="100" presetID="51" presetClass="path" presetSubtype="0" accel="50000" decel="50000" fill="hold" nodeType="clickEffect">
                                  <p:stCondLst>
                                    <p:cond delay="0"/>
                                  </p:stCondLst>
                                  <p:childTnLst>
                                    <p:animMotion origin="layout" path="M -0.07695 -2.59259E-6 L -0.09219 0.05556 C -0.09544 0.06736 -0.09727 0.08472 -0.09727 0.10324 C -0.09727 0.12408 -0.09544 0.14097 -0.09219 0.15255 L -0.07695 0.2088 " pathEditMode="relative" rAng="0" ptsTypes="AAAAA">
                                      <p:cBhvr>
                                        <p:cTn id="101" dur="1000" fill="hold"/>
                                        <p:tgtEl>
                                          <p:spTgt spid="12"/>
                                        </p:tgtEl>
                                        <p:attrNameLst>
                                          <p:attrName>ppt_x</p:attrName>
                                          <p:attrName>ppt_y</p:attrName>
                                        </p:attrNameLst>
                                      </p:cBhvr>
                                      <p:rCtr x="-1016" y="10440"/>
                                    </p:animMotion>
                                  </p:childTnLst>
                                </p:cTn>
                              </p:par>
                            </p:childTnLst>
                          </p:cTn>
                        </p:par>
                        <p:par>
                          <p:cTn id="102" fill="hold">
                            <p:stCondLst>
                              <p:cond delay="1000"/>
                            </p:stCondLst>
                            <p:childTnLst>
                              <p:par>
                                <p:cTn id="103" presetID="63" presetClass="path" presetSubtype="0" accel="50000" decel="50000" fill="hold" nodeType="afterEffect">
                                  <p:stCondLst>
                                    <p:cond delay="0"/>
                                  </p:stCondLst>
                                  <p:childTnLst>
                                    <p:animMotion origin="layout" path="M -0.07695 0.2088 L -0.00169 0.2088 " pathEditMode="relative" rAng="0" ptsTypes="AA">
                                      <p:cBhvr>
                                        <p:cTn id="104" dur="1000" fill="hold"/>
                                        <p:tgtEl>
                                          <p:spTgt spid="12"/>
                                        </p:tgtEl>
                                        <p:attrNameLst>
                                          <p:attrName>ppt_x</p:attrName>
                                          <p:attrName>ppt_y</p:attrName>
                                        </p:attrNameLst>
                                      </p:cBhvr>
                                      <p:rCtr x="3763" y="0"/>
                                    </p:animMotion>
                                  </p:childTnLst>
                                </p:cTn>
                              </p:par>
                              <p:par>
                                <p:cTn id="105" presetID="10" presetClass="exit" presetSubtype="0" fill="hold" nodeType="withEffect">
                                  <p:stCondLst>
                                    <p:cond delay="0"/>
                                  </p:stCondLst>
                                  <p:childTnLst>
                                    <p:animEffect transition="out" filter="fade">
                                      <p:cBhvr>
                                        <p:cTn id="106" dur="800"/>
                                        <p:tgtEl>
                                          <p:spTgt spid="12"/>
                                        </p:tgtEl>
                                      </p:cBhvr>
                                    </p:animEffect>
                                    <p:set>
                                      <p:cBhvr>
                                        <p:cTn id="107" dur="1" fill="hold">
                                          <p:stCondLst>
                                            <p:cond delay="799"/>
                                          </p:stCondLst>
                                        </p:cTn>
                                        <p:tgtEl>
                                          <p:spTgt spid="12"/>
                                        </p:tgtEl>
                                        <p:attrNameLst>
                                          <p:attrName>style.visibility</p:attrName>
                                        </p:attrNameLst>
                                      </p:cBhvr>
                                      <p:to>
                                        <p:strVal val="hidden"/>
                                      </p:to>
                                    </p:set>
                                  </p:childTnLst>
                                </p:cTn>
                              </p:par>
                              <p:par>
                                <p:cTn id="108" presetID="10" presetClass="entr" presetSubtype="0" fill="hold" nodeType="withEffect">
                                  <p:stCondLst>
                                    <p:cond delay="0"/>
                                  </p:stCondLst>
                                  <p:childTnLst>
                                    <p:set>
                                      <p:cBhvr>
                                        <p:cTn id="109" dur="1" fill="hold">
                                          <p:stCondLst>
                                            <p:cond delay="0"/>
                                          </p:stCondLst>
                                        </p:cTn>
                                        <p:tgtEl>
                                          <p:spTgt spid="13"/>
                                        </p:tgtEl>
                                        <p:attrNameLst>
                                          <p:attrName>style.visibility</p:attrName>
                                        </p:attrNameLst>
                                      </p:cBhvr>
                                      <p:to>
                                        <p:strVal val="visible"/>
                                      </p:to>
                                    </p:set>
                                    <p:animEffect transition="in" filter="fade">
                                      <p:cBhvr>
                                        <p:cTn id="110" dur="1900"/>
                                        <p:tgtEl>
                                          <p:spTgt spid="13"/>
                                        </p:tgtEl>
                                      </p:cBhvr>
                                    </p:animEffect>
                                  </p:childTnLst>
                                </p:cTn>
                              </p:par>
                              <p:par>
                                <p:cTn id="111" presetID="63" presetClass="path" presetSubtype="0" accel="50000" decel="50000" fill="hold" nodeType="withEffect">
                                  <p:stCondLst>
                                    <p:cond delay="0"/>
                                  </p:stCondLst>
                                  <p:childTnLst>
                                    <p:animMotion origin="layout" path="M 1.11111E-6 -1.61887E-6 L 0.05781 -1.61887E-6 " pathEditMode="relative" rAng="0" ptsTypes="AA">
                                      <p:cBhvr>
                                        <p:cTn id="112" dur="1000" fill="hold"/>
                                        <p:tgtEl>
                                          <p:spTgt spid="13"/>
                                        </p:tgtEl>
                                        <p:attrNameLst>
                                          <p:attrName>ppt_x</p:attrName>
                                          <p:attrName>ppt_y</p:attrName>
                                        </p:attrNameLst>
                                      </p:cBhvr>
                                      <p:rCtr x="2882" y="0"/>
                                    </p:animMotion>
                                  </p:childTnLst>
                                </p:cTn>
                              </p:par>
                            </p:childTnLst>
                          </p:cTn>
                        </p:par>
                      </p:childTnLst>
                    </p:cTn>
                  </p:par>
                  <p:par>
                    <p:cTn id="113" fill="hold">
                      <p:stCondLst>
                        <p:cond delay="indefinite"/>
                      </p:stCondLst>
                      <p:childTnLst>
                        <p:par>
                          <p:cTn id="114" fill="hold">
                            <p:stCondLst>
                              <p:cond delay="0"/>
                            </p:stCondLst>
                            <p:childTnLst>
                              <p:par>
                                <p:cTn id="115" presetID="58" presetClass="path" presetSubtype="0" accel="50000" decel="50000" fill="hold" nodeType="clickEffect">
                                  <p:stCondLst>
                                    <p:cond delay="0"/>
                                  </p:stCondLst>
                                  <p:childTnLst>
                                    <p:animMotion origin="layout" path="M 0.05781 -4.43108E-6 L 0.07604 0.05505 C 0.08021 0.06661 0.08264 0.08395 0.08264 0.10199 C 0.08264 0.12258 0.08021 0.139 0.07604 0.15056 L 0.05781 0.20583 " pathEditMode="relative" rAng="0" ptsTypes="FffFF">
                                      <p:cBhvr>
                                        <p:cTn id="116" dur="1000" fill="hold"/>
                                        <p:tgtEl>
                                          <p:spTgt spid="13"/>
                                        </p:tgtEl>
                                        <p:attrNameLst>
                                          <p:attrName>ppt_x</p:attrName>
                                          <p:attrName>ppt_y</p:attrName>
                                        </p:attrNameLst>
                                      </p:cBhvr>
                                      <p:rCtr x="1233" y="10291"/>
                                    </p:animMotion>
                                  </p:childTnLst>
                                </p:cTn>
                              </p:par>
                            </p:childTnLst>
                          </p:cTn>
                        </p:par>
                      </p:childTnLst>
                    </p:cTn>
                  </p:par>
                  <p:par>
                    <p:cTn id="117" fill="hold">
                      <p:stCondLst>
                        <p:cond delay="indefinite"/>
                      </p:stCondLst>
                      <p:childTnLst>
                        <p:par>
                          <p:cTn id="118" fill="hold">
                            <p:stCondLst>
                              <p:cond delay="0"/>
                            </p:stCondLst>
                            <p:childTnLst>
                              <p:par>
                                <p:cTn id="119" presetID="35" presetClass="path" presetSubtype="0" accel="50000" decel="50000" fill="hold" nodeType="clickEffect">
                                  <p:stCondLst>
                                    <p:cond delay="0"/>
                                  </p:stCondLst>
                                  <p:childTnLst>
                                    <p:animMotion origin="layout" path="M 0.05781 0.20583 L 0.00382 0.20583 " pathEditMode="relative" rAng="0" ptsTypes="AA">
                                      <p:cBhvr>
                                        <p:cTn id="120" dur="1000" fill="hold"/>
                                        <p:tgtEl>
                                          <p:spTgt spid="13"/>
                                        </p:tgtEl>
                                        <p:attrNameLst>
                                          <p:attrName>ppt_x</p:attrName>
                                          <p:attrName>ppt_y</p:attrName>
                                        </p:attrNameLst>
                                      </p:cBhvr>
                                      <p:rCtr x="-2708" y="0"/>
                                    </p:animMotion>
                                  </p:childTnLst>
                                </p:cTn>
                              </p:par>
                              <p:par>
                                <p:cTn id="121" presetID="10" presetClass="exit" presetSubtype="0" fill="hold" nodeType="withEffect">
                                  <p:stCondLst>
                                    <p:cond delay="0"/>
                                  </p:stCondLst>
                                  <p:childTnLst>
                                    <p:animEffect transition="out" filter="fade">
                                      <p:cBhvr>
                                        <p:cTn id="122" dur="500"/>
                                        <p:tgtEl>
                                          <p:spTgt spid="13"/>
                                        </p:tgtEl>
                                      </p:cBhvr>
                                    </p:animEffect>
                                    <p:set>
                                      <p:cBhvr>
                                        <p:cTn id="123" dur="1" fill="hold">
                                          <p:stCondLst>
                                            <p:cond delay="499"/>
                                          </p:stCondLst>
                                        </p:cTn>
                                        <p:tgtEl>
                                          <p:spTgt spid="13"/>
                                        </p:tgtEl>
                                        <p:attrNameLst>
                                          <p:attrName>style.visibility</p:attrName>
                                        </p:attrNameLst>
                                      </p:cBhvr>
                                      <p:to>
                                        <p:strVal val="hidden"/>
                                      </p:to>
                                    </p:set>
                                  </p:childTnLst>
                                </p:cTn>
                              </p:par>
                              <p:par>
                                <p:cTn id="124" presetID="10" presetClass="entr" presetSubtype="0" fill="hold" nodeType="withEffect">
                                  <p:stCondLst>
                                    <p:cond delay="0"/>
                                  </p:stCondLst>
                                  <p:childTnLst>
                                    <p:set>
                                      <p:cBhvr>
                                        <p:cTn id="125" dur="1" fill="hold">
                                          <p:stCondLst>
                                            <p:cond delay="0"/>
                                          </p:stCondLst>
                                        </p:cTn>
                                        <p:tgtEl>
                                          <p:spTgt spid="14"/>
                                        </p:tgtEl>
                                        <p:attrNameLst>
                                          <p:attrName>style.visibility</p:attrName>
                                        </p:attrNameLst>
                                      </p:cBhvr>
                                      <p:to>
                                        <p:strVal val="visible"/>
                                      </p:to>
                                    </p:set>
                                    <p:animEffect transition="in" filter="fade">
                                      <p:cBhvr>
                                        <p:cTn id="126" dur="500"/>
                                        <p:tgtEl>
                                          <p:spTgt spid="14"/>
                                        </p:tgtEl>
                                      </p:cBhvr>
                                    </p:animEffect>
                                  </p:childTnLst>
                                </p:cTn>
                              </p:par>
                            </p:childTnLst>
                          </p:cTn>
                        </p:par>
                      </p:childTnLst>
                    </p:cTn>
                  </p:par>
                  <p:par>
                    <p:cTn id="127" fill="hold">
                      <p:stCondLst>
                        <p:cond delay="indefinite"/>
                      </p:stCondLst>
                      <p:childTnLst>
                        <p:par>
                          <p:cTn id="128" fill="hold">
                            <p:stCondLst>
                              <p:cond delay="0"/>
                            </p:stCondLst>
                            <p:childTnLst>
                              <p:par>
                                <p:cTn id="129" presetID="35" presetClass="path" presetSubtype="0" accel="50000" decel="50000" fill="hold" nodeType="clickEffect">
                                  <p:stCondLst>
                                    <p:cond delay="0"/>
                                  </p:stCondLst>
                                  <p:childTnLst>
                                    <p:animMotion origin="layout" path="M 5E-6 -2.80296E-6 L -0.06494 -2.80296E-6 " pathEditMode="relative" rAng="0" ptsTypes="AA">
                                      <p:cBhvr>
                                        <p:cTn id="130" dur="1000" fill="hold"/>
                                        <p:tgtEl>
                                          <p:spTgt spid="14"/>
                                        </p:tgtEl>
                                        <p:attrNameLst>
                                          <p:attrName>ppt_x</p:attrName>
                                          <p:attrName>ppt_y</p:attrName>
                                        </p:attrNameLst>
                                      </p:cBhvr>
                                      <p:rCtr x="-3247" y="0"/>
                                    </p:animMotion>
                                  </p:childTnLst>
                                </p:cTn>
                              </p:par>
                              <p:par>
                                <p:cTn id="131" presetID="35" presetClass="path" presetSubtype="0" accel="50000" decel="50000" fill="hold" nodeType="withEffect">
                                  <p:stCondLst>
                                    <p:cond delay="0"/>
                                  </p:stCondLst>
                                  <p:childTnLst>
                                    <p:animMotion origin="layout" path="M -0.05712 -2.36818E-6 L -0.63403 -2.36818E-6 " pathEditMode="relative" rAng="0" ptsTypes="AA">
                                      <p:cBhvr>
                                        <p:cTn id="132" dur="1000" fill="hold"/>
                                        <p:tgtEl>
                                          <p:spTgt spid="14"/>
                                        </p:tgtEl>
                                        <p:attrNameLst>
                                          <p:attrName>ppt_x</p:attrName>
                                          <p:attrName>ppt_y</p:attrName>
                                        </p:attrNameLst>
                                      </p:cBhvr>
                                      <p:rCtr x="-28854" y="0"/>
                                    </p:animMotion>
                                  </p:childTnLst>
                                </p:cTn>
                              </p:par>
                            </p:childTnLst>
                          </p:cTn>
                        </p:par>
                      </p:childTnLst>
                    </p:cTn>
                  </p:par>
                  <p:par>
                    <p:cTn id="133" fill="hold">
                      <p:stCondLst>
                        <p:cond delay="indefinite"/>
                      </p:stCondLst>
                      <p:childTnLst>
                        <p:par>
                          <p:cTn id="134" fill="hold">
                            <p:stCondLst>
                              <p:cond delay="0"/>
                            </p:stCondLst>
                            <p:childTnLst>
                              <p:par>
                                <p:cTn id="135" presetID="2" presetClass="entr" presetSubtype="4" fill="hold" grpId="0" nodeType="clickEffect">
                                  <p:stCondLst>
                                    <p:cond delay="0"/>
                                  </p:stCondLst>
                                  <p:childTnLst>
                                    <p:set>
                                      <p:cBhvr>
                                        <p:cTn id="136" dur="1" fill="hold">
                                          <p:stCondLst>
                                            <p:cond delay="0"/>
                                          </p:stCondLst>
                                        </p:cTn>
                                        <p:tgtEl>
                                          <p:spTgt spid="2"/>
                                        </p:tgtEl>
                                        <p:attrNameLst>
                                          <p:attrName>style.visibility</p:attrName>
                                        </p:attrNameLst>
                                      </p:cBhvr>
                                      <p:to>
                                        <p:strVal val="visible"/>
                                      </p:to>
                                    </p:set>
                                    <p:anim calcmode="lin" valueType="num">
                                      <p:cBhvr additive="base">
                                        <p:cTn id="137" dur="500" fill="hold"/>
                                        <p:tgtEl>
                                          <p:spTgt spid="2"/>
                                        </p:tgtEl>
                                        <p:attrNameLst>
                                          <p:attrName>ppt_x</p:attrName>
                                        </p:attrNameLst>
                                      </p:cBhvr>
                                      <p:tavLst>
                                        <p:tav tm="0">
                                          <p:val>
                                            <p:strVal val="#ppt_x"/>
                                          </p:val>
                                        </p:tav>
                                        <p:tav tm="100000">
                                          <p:val>
                                            <p:strVal val="#ppt_x"/>
                                          </p:val>
                                        </p:tav>
                                      </p:tavLst>
                                    </p:anim>
                                    <p:anim calcmode="lin" valueType="num">
                                      <p:cBhvr additive="base">
                                        <p:cTn id="13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39" fill="hold">
                      <p:stCondLst>
                        <p:cond delay="indefinite"/>
                      </p:stCondLst>
                      <p:childTnLst>
                        <p:par>
                          <p:cTn id="140" fill="hold">
                            <p:stCondLst>
                              <p:cond delay="0"/>
                            </p:stCondLst>
                            <p:childTnLst>
                              <p:par>
                                <p:cTn id="141" presetID="5" presetClass="exit" presetSubtype="10" fill="hold" grpId="1" nodeType="clickEffect">
                                  <p:stCondLst>
                                    <p:cond delay="0"/>
                                  </p:stCondLst>
                                  <p:childTnLst>
                                    <p:animEffect transition="out" filter="checkerboard(across)">
                                      <p:cBhvr>
                                        <p:cTn id="142" dur="500"/>
                                        <p:tgtEl>
                                          <p:spTgt spid="2"/>
                                        </p:tgtEl>
                                      </p:cBhvr>
                                    </p:animEffect>
                                    <p:set>
                                      <p:cBhvr>
                                        <p:cTn id="143" dur="1" fill="hold">
                                          <p:stCondLst>
                                            <p:cond delay="499"/>
                                          </p:stCondLst>
                                        </p:cTn>
                                        <p:tgtEl>
                                          <p:spTgt spid="2"/>
                                        </p:tgtEl>
                                        <p:attrNameLst>
                                          <p:attrName>style.visibility</p:attrName>
                                        </p:attrNameLst>
                                      </p:cBhvr>
                                      <p:to>
                                        <p:strVal val="hidden"/>
                                      </p:to>
                                    </p:set>
                                  </p:childTnLst>
                                </p:cTn>
                              </p:par>
                              <p:par>
                                <p:cTn id="144" presetID="5" presetClass="exit" presetSubtype="10" fill="hold" nodeType="withEffect">
                                  <p:stCondLst>
                                    <p:cond delay="0"/>
                                  </p:stCondLst>
                                  <p:childTnLst>
                                    <p:animEffect transition="out" filter="checkerboard(across)">
                                      <p:cBhvr>
                                        <p:cTn id="145" dur="500"/>
                                        <p:tgtEl>
                                          <p:spTgt spid="6"/>
                                        </p:tgtEl>
                                      </p:cBhvr>
                                    </p:animEffect>
                                    <p:set>
                                      <p:cBhvr>
                                        <p:cTn id="146" dur="1" fill="hold">
                                          <p:stCondLst>
                                            <p:cond delay="499"/>
                                          </p:stCondLst>
                                        </p:cTn>
                                        <p:tgtEl>
                                          <p:spTgt spid="6"/>
                                        </p:tgtEl>
                                        <p:attrNameLst>
                                          <p:attrName>style.visibility</p:attrName>
                                        </p:attrNameLst>
                                      </p:cBhvr>
                                      <p:to>
                                        <p:strVal val="hidden"/>
                                      </p:to>
                                    </p:set>
                                  </p:childTnLst>
                                </p:cTn>
                              </p:par>
                              <p:par>
                                <p:cTn id="147" presetID="5" presetClass="exit" presetSubtype="10" fill="hold" grpId="2" nodeType="withEffect">
                                  <p:stCondLst>
                                    <p:cond delay="0"/>
                                  </p:stCondLst>
                                  <p:childTnLst>
                                    <p:animEffect transition="out" filter="checkerboard(across)">
                                      <p:cBhvr>
                                        <p:cTn id="148" dur="500"/>
                                        <p:tgtEl>
                                          <p:spTgt spid="7"/>
                                        </p:tgtEl>
                                      </p:cBhvr>
                                    </p:animEffect>
                                    <p:set>
                                      <p:cBhvr>
                                        <p:cTn id="149" dur="1" fill="hold">
                                          <p:stCondLst>
                                            <p:cond delay="499"/>
                                          </p:stCondLst>
                                        </p:cTn>
                                        <p:tgtEl>
                                          <p:spTgt spid="7"/>
                                        </p:tgtEl>
                                        <p:attrNameLst>
                                          <p:attrName>style.visibility</p:attrName>
                                        </p:attrNameLst>
                                      </p:cBhvr>
                                      <p:to>
                                        <p:strVal val="hidden"/>
                                      </p:to>
                                    </p:set>
                                  </p:childTnLst>
                                </p:cTn>
                              </p:par>
                              <p:par>
                                <p:cTn id="150" presetID="5" presetClass="exit" presetSubtype="10" fill="hold" grpId="2" nodeType="withEffect">
                                  <p:stCondLst>
                                    <p:cond delay="0"/>
                                  </p:stCondLst>
                                  <p:childTnLst>
                                    <p:animEffect transition="out" filter="checkerboard(across)">
                                      <p:cBhvr>
                                        <p:cTn id="151" dur="500"/>
                                        <p:tgtEl>
                                          <p:spTgt spid="15"/>
                                        </p:tgtEl>
                                      </p:cBhvr>
                                    </p:animEffect>
                                    <p:set>
                                      <p:cBhvr>
                                        <p:cTn id="152" dur="1" fill="hold">
                                          <p:stCondLst>
                                            <p:cond delay="499"/>
                                          </p:stCondLst>
                                        </p:cTn>
                                        <p:tgtEl>
                                          <p:spTgt spid="15"/>
                                        </p:tgtEl>
                                        <p:attrNameLst>
                                          <p:attrName>style.visibility</p:attrName>
                                        </p:attrNameLst>
                                      </p:cBhvr>
                                      <p:to>
                                        <p:strVal val="hidden"/>
                                      </p:to>
                                    </p:set>
                                  </p:childTnLst>
                                </p:cTn>
                              </p:par>
                              <p:par>
                                <p:cTn id="153" presetID="5" presetClass="exit" presetSubtype="10" fill="hold" grpId="2" nodeType="withEffect">
                                  <p:stCondLst>
                                    <p:cond delay="0"/>
                                  </p:stCondLst>
                                  <p:childTnLst>
                                    <p:animEffect transition="out" filter="checkerboard(across)">
                                      <p:cBhvr>
                                        <p:cTn id="154" dur="500"/>
                                        <p:tgtEl>
                                          <p:spTgt spid="16"/>
                                        </p:tgtEl>
                                      </p:cBhvr>
                                    </p:animEffect>
                                    <p:set>
                                      <p:cBhvr>
                                        <p:cTn id="155" dur="1" fill="hold">
                                          <p:stCondLst>
                                            <p:cond delay="499"/>
                                          </p:stCondLst>
                                        </p:cTn>
                                        <p:tgtEl>
                                          <p:spTgt spid="16"/>
                                        </p:tgtEl>
                                        <p:attrNameLst>
                                          <p:attrName>style.visibility</p:attrName>
                                        </p:attrNameLst>
                                      </p:cBhvr>
                                      <p:to>
                                        <p:strVal val="hidden"/>
                                      </p:to>
                                    </p:set>
                                  </p:childTnLst>
                                </p:cTn>
                              </p:par>
                              <p:par>
                                <p:cTn id="156" presetID="5" presetClass="exit" presetSubtype="10" fill="hold" grpId="2" nodeType="withEffect">
                                  <p:stCondLst>
                                    <p:cond delay="0"/>
                                  </p:stCondLst>
                                  <p:childTnLst>
                                    <p:animEffect transition="out" filter="checkerboard(across)">
                                      <p:cBhvr>
                                        <p:cTn id="157" dur="500"/>
                                        <p:tgtEl>
                                          <p:spTgt spid="8"/>
                                        </p:tgtEl>
                                      </p:cBhvr>
                                    </p:animEffect>
                                    <p:set>
                                      <p:cBhvr>
                                        <p:cTn id="158" dur="1" fill="hold">
                                          <p:stCondLst>
                                            <p:cond delay="499"/>
                                          </p:stCondLst>
                                        </p:cTn>
                                        <p:tgtEl>
                                          <p:spTgt spid="8"/>
                                        </p:tgtEl>
                                        <p:attrNameLst>
                                          <p:attrName>style.visibility</p:attrName>
                                        </p:attrNameLst>
                                      </p:cBhvr>
                                      <p:to>
                                        <p:strVal val="hidden"/>
                                      </p:to>
                                    </p:set>
                                  </p:childTnLst>
                                </p:cTn>
                              </p:par>
                              <p:par>
                                <p:cTn id="159" presetID="5" presetClass="exit" presetSubtype="10" fill="hold" nodeType="withEffect">
                                  <p:stCondLst>
                                    <p:cond delay="0"/>
                                  </p:stCondLst>
                                  <p:childTnLst>
                                    <p:animEffect transition="out" filter="checkerboard(across)">
                                      <p:cBhvr>
                                        <p:cTn id="160" dur="500"/>
                                        <p:tgtEl>
                                          <p:spTgt spid="9"/>
                                        </p:tgtEl>
                                      </p:cBhvr>
                                    </p:animEffect>
                                    <p:set>
                                      <p:cBhvr>
                                        <p:cTn id="161" dur="1" fill="hold">
                                          <p:stCondLst>
                                            <p:cond delay="499"/>
                                          </p:stCondLst>
                                        </p:cTn>
                                        <p:tgtEl>
                                          <p:spTgt spid="9"/>
                                        </p:tgtEl>
                                        <p:attrNameLst>
                                          <p:attrName>style.visibility</p:attrName>
                                        </p:attrNameLst>
                                      </p:cBhvr>
                                      <p:to>
                                        <p:strVal val="hidden"/>
                                      </p:to>
                                    </p:set>
                                  </p:childTnLst>
                                </p:cTn>
                              </p:par>
                              <p:par>
                                <p:cTn id="162" presetID="5" presetClass="exit" presetSubtype="10" fill="hold" nodeType="withEffect">
                                  <p:stCondLst>
                                    <p:cond delay="0"/>
                                  </p:stCondLst>
                                  <p:childTnLst>
                                    <p:animEffect transition="out" filter="checkerboard(across)">
                                      <p:cBhvr>
                                        <p:cTn id="163" dur="500"/>
                                        <p:tgtEl>
                                          <p:spTgt spid="10"/>
                                        </p:tgtEl>
                                      </p:cBhvr>
                                    </p:animEffect>
                                    <p:set>
                                      <p:cBhvr>
                                        <p:cTn id="164" dur="1" fill="hold">
                                          <p:stCondLst>
                                            <p:cond delay="499"/>
                                          </p:stCondLst>
                                        </p:cTn>
                                        <p:tgtEl>
                                          <p:spTgt spid="10"/>
                                        </p:tgtEl>
                                        <p:attrNameLst>
                                          <p:attrName>style.visibility</p:attrName>
                                        </p:attrNameLst>
                                      </p:cBhvr>
                                      <p:to>
                                        <p:strVal val="hidden"/>
                                      </p:to>
                                    </p:set>
                                  </p:childTnLst>
                                </p:cTn>
                              </p:par>
                              <p:par>
                                <p:cTn id="165" presetID="5" presetClass="exit" presetSubtype="10" fill="hold" nodeType="withEffect">
                                  <p:stCondLst>
                                    <p:cond delay="0"/>
                                  </p:stCondLst>
                                  <p:childTnLst>
                                    <p:animEffect transition="out" filter="checkerboard(across)">
                                      <p:cBhvr>
                                        <p:cTn id="166" dur="500"/>
                                        <p:tgtEl>
                                          <p:spTgt spid="11"/>
                                        </p:tgtEl>
                                      </p:cBhvr>
                                    </p:animEffect>
                                    <p:set>
                                      <p:cBhvr>
                                        <p:cTn id="167" dur="1" fill="hold">
                                          <p:stCondLst>
                                            <p:cond delay="499"/>
                                          </p:stCondLst>
                                        </p:cTn>
                                        <p:tgtEl>
                                          <p:spTgt spid="11"/>
                                        </p:tgtEl>
                                        <p:attrNameLst>
                                          <p:attrName>style.visibility</p:attrName>
                                        </p:attrNameLst>
                                      </p:cBhvr>
                                      <p:to>
                                        <p:strVal val="hidden"/>
                                      </p:to>
                                    </p:set>
                                  </p:childTnLst>
                                </p:cTn>
                              </p:par>
                              <p:par>
                                <p:cTn id="168" presetID="5" presetClass="exit" presetSubtype="10" fill="hold" nodeType="withEffect">
                                  <p:stCondLst>
                                    <p:cond delay="0"/>
                                  </p:stCondLst>
                                  <p:childTnLst>
                                    <p:animEffect transition="out" filter="checkerboard(across)">
                                      <p:cBhvr>
                                        <p:cTn id="169" dur="500"/>
                                        <p:tgtEl>
                                          <p:spTgt spid="12"/>
                                        </p:tgtEl>
                                      </p:cBhvr>
                                    </p:animEffect>
                                    <p:set>
                                      <p:cBhvr>
                                        <p:cTn id="170" dur="1" fill="hold">
                                          <p:stCondLst>
                                            <p:cond delay="499"/>
                                          </p:stCondLst>
                                        </p:cTn>
                                        <p:tgtEl>
                                          <p:spTgt spid="12"/>
                                        </p:tgtEl>
                                        <p:attrNameLst>
                                          <p:attrName>style.visibility</p:attrName>
                                        </p:attrNameLst>
                                      </p:cBhvr>
                                      <p:to>
                                        <p:strVal val="hidden"/>
                                      </p:to>
                                    </p:set>
                                  </p:childTnLst>
                                </p:cTn>
                              </p:par>
                              <p:par>
                                <p:cTn id="171" presetID="5" presetClass="exit" presetSubtype="10" fill="hold" nodeType="withEffect">
                                  <p:stCondLst>
                                    <p:cond delay="0"/>
                                  </p:stCondLst>
                                  <p:childTnLst>
                                    <p:animEffect transition="out" filter="checkerboard(across)">
                                      <p:cBhvr>
                                        <p:cTn id="172" dur="500"/>
                                        <p:tgtEl>
                                          <p:spTgt spid="13"/>
                                        </p:tgtEl>
                                      </p:cBhvr>
                                    </p:animEffect>
                                    <p:set>
                                      <p:cBhvr>
                                        <p:cTn id="173" dur="1" fill="hold">
                                          <p:stCondLst>
                                            <p:cond delay="499"/>
                                          </p:stCondLst>
                                        </p:cTn>
                                        <p:tgtEl>
                                          <p:spTgt spid="13"/>
                                        </p:tgtEl>
                                        <p:attrNameLst>
                                          <p:attrName>style.visibility</p:attrName>
                                        </p:attrNameLst>
                                      </p:cBhvr>
                                      <p:to>
                                        <p:strVal val="hidden"/>
                                      </p:to>
                                    </p:set>
                                  </p:childTnLst>
                                </p:cTn>
                              </p:par>
                              <p:par>
                                <p:cTn id="174" presetID="5" presetClass="exit" presetSubtype="10" fill="hold" nodeType="withEffect">
                                  <p:stCondLst>
                                    <p:cond delay="0"/>
                                  </p:stCondLst>
                                  <p:childTnLst>
                                    <p:animEffect transition="out" filter="checkerboard(across)">
                                      <p:cBhvr>
                                        <p:cTn id="175" dur="500"/>
                                        <p:tgtEl>
                                          <p:spTgt spid="14"/>
                                        </p:tgtEl>
                                      </p:cBhvr>
                                    </p:animEffect>
                                    <p:set>
                                      <p:cBhvr>
                                        <p:cTn id="176"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7" grpId="2" animBg="1"/>
      <p:bldP spid="8" grpId="0" animBg="1"/>
      <p:bldP spid="8" grpId="1" animBg="1"/>
      <p:bldP spid="8" grpId="2" animBg="1"/>
      <p:bldP spid="15" grpId="0" animBg="1"/>
      <p:bldP spid="15" grpId="1" animBg="1"/>
      <p:bldP spid="15" grpId="2" animBg="1"/>
      <p:bldP spid="16" grpId="0" animBg="1"/>
      <p:bldP spid="16" grpId="1" animBg="1"/>
      <p:bldP spid="16" grpId="2" animBg="1"/>
      <p:bldP spid="2" grpId="0" animBg="1"/>
      <p:bldP spid="2"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Group 58">
            <a:extLst>
              <a:ext uri="{FF2B5EF4-FFF2-40B4-BE49-F238E27FC236}">
                <a16:creationId xmlns:a16="http://schemas.microsoft.com/office/drawing/2014/main" id="{A653E26B-F2AD-43F0-88BB-C97AC7062AB0}"/>
              </a:ext>
            </a:extLst>
          </p:cNvPr>
          <p:cNvGrpSpPr/>
          <p:nvPr/>
        </p:nvGrpSpPr>
        <p:grpSpPr>
          <a:xfrm>
            <a:off x="5786837" y="3403647"/>
            <a:ext cx="4072887" cy="2669703"/>
            <a:chOff x="7420343" y="1346243"/>
            <a:chExt cx="4771657" cy="3166563"/>
          </a:xfrm>
        </p:grpSpPr>
        <p:pic>
          <p:nvPicPr>
            <p:cNvPr id="7" name="Picture 6">
              <a:extLst>
                <a:ext uri="{FF2B5EF4-FFF2-40B4-BE49-F238E27FC236}">
                  <a16:creationId xmlns:a16="http://schemas.microsoft.com/office/drawing/2014/main" id="{40A010EC-327A-4DDC-B16D-8E2B271033BD}"/>
                </a:ext>
              </a:extLst>
            </p:cNvPr>
            <p:cNvPicPr>
              <a:picLocks noChangeAspect="1"/>
            </p:cNvPicPr>
            <p:nvPr/>
          </p:nvPicPr>
          <p:blipFill>
            <a:blip r:embed="rId3"/>
            <a:stretch>
              <a:fillRect/>
            </a:stretch>
          </p:blipFill>
          <p:spPr>
            <a:xfrm>
              <a:off x="7420343" y="1346243"/>
              <a:ext cx="4771657" cy="2468792"/>
            </a:xfrm>
            <a:prstGeom prst="rect">
              <a:avLst/>
            </a:prstGeom>
          </p:spPr>
        </p:pic>
        <p:sp>
          <p:nvSpPr>
            <p:cNvPr id="37" name="TextBox 36">
              <a:extLst>
                <a:ext uri="{FF2B5EF4-FFF2-40B4-BE49-F238E27FC236}">
                  <a16:creationId xmlns:a16="http://schemas.microsoft.com/office/drawing/2014/main" id="{CDF664A5-2ABE-4B55-8244-B59249797095}"/>
                </a:ext>
              </a:extLst>
            </p:cNvPr>
            <p:cNvSpPr txBox="1"/>
            <p:nvPr/>
          </p:nvSpPr>
          <p:spPr>
            <a:xfrm>
              <a:off x="9739622" y="3941154"/>
              <a:ext cx="2452378" cy="401563"/>
            </a:xfrm>
            <a:prstGeom prst="rect">
              <a:avLst/>
            </a:prstGeom>
            <a:noFill/>
          </p:spPr>
          <p:txBody>
            <a:bodyPr wrap="square" rtlCol="0">
              <a:spAutoFit/>
            </a:bodyPr>
            <a:lstStyle/>
            <a:p>
              <a:r>
                <a:rPr lang="fr-FR" sz="1600" b="1" dirty="0">
                  <a:latin typeface="Times New Roman" panose="02020603050405020304" pitchFamily="18" charset="0"/>
                  <a:cs typeface="Times New Roman" panose="02020603050405020304" pitchFamily="18" charset="0"/>
                </a:rPr>
                <a:t>Ferrage des ouvrants</a:t>
              </a:r>
            </a:p>
          </p:txBody>
        </p:sp>
        <p:cxnSp>
          <p:nvCxnSpPr>
            <p:cNvPr id="41" name="Connector: Elbow 40">
              <a:extLst>
                <a:ext uri="{FF2B5EF4-FFF2-40B4-BE49-F238E27FC236}">
                  <a16:creationId xmlns:a16="http://schemas.microsoft.com/office/drawing/2014/main" id="{DB0D24B7-98C0-48B1-BF4D-F8785A7467B8}"/>
                </a:ext>
              </a:extLst>
            </p:cNvPr>
            <p:cNvCxnSpPr>
              <a:cxnSpLocks/>
            </p:cNvCxnSpPr>
            <p:nvPr/>
          </p:nvCxnSpPr>
          <p:spPr>
            <a:xfrm rot="10800000">
              <a:off x="9776534" y="3354792"/>
              <a:ext cx="2219100" cy="1158014"/>
            </a:xfrm>
            <a:prstGeom prst="bentConnector3">
              <a:avLst>
                <a:gd name="adj1" fmla="val 99580"/>
              </a:avLst>
            </a:prstGeom>
            <a:ln>
              <a:tailEnd type="triangle"/>
            </a:ln>
          </p:spPr>
          <p:style>
            <a:lnRef idx="1">
              <a:schemeClr val="dk1"/>
            </a:lnRef>
            <a:fillRef idx="0">
              <a:schemeClr val="dk1"/>
            </a:fillRef>
            <a:effectRef idx="0">
              <a:schemeClr val="dk1"/>
            </a:effectRef>
            <a:fontRef idx="minor">
              <a:schemeClr val="tx1"/>
            </a:fontRef>
          </p:style>
        </p:cxnSp>
      </p:grpSp>
      <p:grpSp>
        <p:nvGrpSpPr>
          <p:cNvPr id="66" name="Group 65">
            <a:extLst>
              <a:ext uri="{FF2B5EF4-FFF2-40B4-BE49-F238E27FC236}">
                <a16:creationId xmlns:a16="http://schemas.microsoft.com/office/drawing/2014/main" id="{73493688-2D35-40BC-9E58-0C7BEECAF124}"/>
              </a:ext>
            </a:extLst>
          </p:cNvPr>
          <p:cNvGrpSpPr/>
          <p:nvPr/>
        </p:nvGrpSpPr>
        <p:grpSpPr>
          <a:xfrm>
            <a:off x="2768522" y="4713878"/>
            <a:ext cx="4072887" cy="1986478"/>
            <a:chOff x="3439516" y="4092297"/>
            <a:chExt cx="4771656" cy="2748560"/>
          </a:xfrm>
        </p:grpSpPr>
        <p:pic>
          <p:nvPicPr>
            <p:cNvPr id="6" name="Picture 5">
              <a:extLst>
                <a:ext uri="{FF2B5EF4-FFF2-40B4-BE49-F238E27FC236}">
                  <a16:creationId xmlns:a16="http://schemas.microsoft.com/office/drawing/2014/main" id="{71075236-65BB-40D9-A03B-AB46393102B4}"/>
                </a:ext>
              </a:extLst>
            </p:cNvPr>
            <p:cNvPicPr>
              <a:picLocks noChangeAspect="1"/>
            </p:cNvPicPr>
            <p:nvPr/>
          </p:nvPicPr>
          <p:blipFill>
            <a:blip r:embed="rId4"/>
            <a:stretch>
              <a:fillRect/>
            </a:stretch>
          </p:blipFill>
          <p:spPr>
            <a:xfrm>
              <a:off x="3439516" y="4129240"/>
              <a:ext cx="4771656" cy="2711617"/>
            </a:xfrm>
            <a:prstGeom prst="rect">
              <a:avLst/>
            </a:prstGeom>
          </p:spPr>
        </p:pic>
        <p:cxnSp>
          <p:nvCxnSpPr>
            <p:cNvPr id="35" name="Connector: Elbow 34">
              <a:extLst>
                <a:ext uri="{FF2B5EF4-FFF2-40B4-BE49-F238E27FC236}">
                  <a16:creationId xmlns:a16="http://schemas.microsoft.com/office/drawing/2014/main" id="{BE101318-43CE-4C10-A260-9B957FFCFBA8}"/>
                </a:ext>
              </a:extLst>
            </p:cNvPr>
            <p:cNvCxnSpPr>
              <a:cxnSpLocks/>
            </p:cNvCxnSpPr>
            <p:nvPr/>
          </p:nvCxnSpPr>
          <p:spPr>
            <a:xfrm>
              <a:off x="5085421" y="4104862"/>
              <a:ext cx="1335869" cy="363975"/>
            </a:xfrm>
            <a:prstGeom prst="bentConnector3">
              <a:avLst>
                <a:gd name="adj1" fmla="val 99950"/>
              </a:avLst>
            </a:prstGeom>
            <a:ln>
              <a:tailEnd type="triangle"/>
            </a:ln>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id="{65085DA1-2CCC-47C8-8504-D8754C7F8596}"/>
                </a:ext>
              </a:extLst>
            </p:cNvPr>
            <p:cNvSpPr txBox="1"/>
            <p:nvPr/>
          </p:nvSpPr>
          <p:spPr>
            <a:xfrm>
              <a:off x="5047907" y="4092297"/>
              <a:ext cx="1499807" cy="338555"/>
            </a:xfrm>
            <a:prstGeom prst="rect">
              <a:avLst/>
            </a:prstGeom>
            <a:noFill/>
          </p:spPr>
          <p:txBody>
            <a:bodyPr wrap="square" rtlCol="0">
              <a:spAutoFit/>
            </a:bodyPr>
            <a:lstStyle/>
            <a:p>
              <a:r>
                <a:rPr lang="fr-FR" sz="1600" b="1" dirty="0">
                  <a:latin typeface="Times New Roman" panose="02020603050405020304" pitchFamily="18" charset="0"/>
                  <a:cs typeface="Times New Roman" panose="02020603050405020304" pitchFamily="18" charset="0"/>
                </a:rPr>
                <a:t>Pavillon</a:t>
              </a:r>
            </a:p>
          </p:txBody>
        </p:sp>
      </p:grpSp>
      <p:grpSp>
        <p:nvGrpSpPr>
          <p:cNvPr id="123" name="Group 122">
            <a:extLst>
              <a:ext uri="{FF2B5EF4-FFF2-40B4-BE49-F238E27FC236}">
                <a16:creationId xmlns:a16="http://schemas.microsoft.com/office/drawing/2014/main" id="{5DE6A4E1-26CF-4721-97D2-4731332D68F9}"/>
              </a:ext>
            </a:extLst>
          </p:cNvPr>
          <p:cNvGrpSpPr/>
          <p:nvPr/>
        </p:nvGrpSpPr>
        <p:grpSpPr>
          <a:xfrm>
            <a:off x="143220" y="3111360"/>
            <a:ext cx="5357469" cy="2294885"/>
            <a:chOff x="143220" y="3569047"/>
            <a:chExt cx="5357469" cy="2294885"/>
          </a:xfrm>
        </p:grpSpPr>
        <p:grpSp>
          <p:nvGrpSpPr>
            <p:cNvPr id="120" name="Group 119">
              <a:extLst>
                <a:ext uri="{FF2B5EF4-FFF2-40B4-BE49-F238E27FC236}">
                  <a16:creationId xmlns:a16="http://schemas.microsoft.com/office/drawing/2014/main" id="{675CB140-69F5-476F-9943-AB54D81CCB37}"/>
                </a:ext>
              </a:extLst>
            </p:cNvPr>
            <p:cNvGrpSpPr/>
            <p:nvPr/>
          </p:nvGrpSpPr>
          <p:grpSpPr>
            <a:xfrm>
              <a:off x="143220" y="3569047"/>
              <a:ext cx="5357469" cy="2294885"/>
              <a:chOff x="143220" y="3569047"/>
              <a:chExt cx="5357469" cy="2294885"/>
            </a:xfrm>
          </p:grpSpPr>
          <p:grpSp>
            <p:nvGrpSpPr>
              <p:cNvPr id="34" name="Group 33">
                <a:extLst>
                  <a:ext uri="{FF2B5EF4-FFF2-40B4-BE49-F238E27FC236}">
                    <a16:creationId xmlns:a16="http://schemas.microsoft.com/office/drawing/2014/main" id="{039CA00E-24BE-4E03-8171-1AF26E7A5A71}"/>
                  </a:ext>
                </a:extLst>
              </p:cNvPr>
              <p:cNvGrpSpPr/>
              <p:nvPr/>
            </p:nvGrpSpPr>
            <p:grpSpPr>
              <a:xfrm>
                <a:off x="143220" y="3703268"/>
                <a:ext cx="4072887" cy="2160664"/>
                <a:chOff x="0" y="2601874"/>
                <a:chExt cx="4776926" cy="2663969"/>
              </a:xfrm>
            </p:grpSpPr>
            <p:pic>
              <p:nvPicPr>
                <p:cNvPr id="3" name="Picture 2">
                  <a:extLst>
                    <a:ext uri="{FF2B5EF4-FFF2-40B4-BE49-F238E27FC236}">
                      <a16:creationId xmlns:a16="http://schemas.microsoft.com/office/drawing/2014/main" id="{39BAC57E-36D1-4DD9-88C3-970E2A7BF6E4}"/>
                    </a:ext>
                  </a:extLst>
                </p:cNvPr>
                <p:cNvPicPr>
                  <a:picLocks noChangeAspect="1"/>
                </p:cNvPicPr>
                <p:nvPr/>
              </p:nvPicPr>
              <p:blipFill>
                <a:blip r:embed="rId5"/>
                <a:stretch>
                  <a:fillRect/>
                </a:stretch>
              </p:blipFill>
              <p:spPr>
                <a:xfrm>
                  <a:off x="0" y="2601874"/>
                  <a:ext cx="4776926" cy="2397442"/>
                </a:xfrm>
                <a:prstGeom prst="rect">
                  <a:avLst/>
                </a:prstGeom>
              </p:spPr>
            </p:pic>
            <p:sp>
              <p:nvSpPr>
                <p:cNvPr id="21" name="TextBox 20">
                  <a:extLst>
                    <a:ext uri="{FF2B5EF4-FFF2-40B4-BE49-F238E27FC236}">
                      <a16:creationId xmlns:a16="http://schemas.microsoft.com/office/drawing/2014/main" id="{79BED189-53A9-4C6B-A7F7-8C803ADD02DA}"/>
                    </a:ext>
                  </a:extLst>
                </p:cNvPr>
                <p:cNvSpPr txBox="1"/>
                <p:nvPr/>
              </p:nvSpPr>
              <p:spPr>
                <a:xfrm>
                  <a:off x="624867" y="4848426"/>
                  <a:ext cx="1943481" cy="417417"/>
                </a:xfrm>
                <a:prstGeom prst="rect">
                  <a:avLst/>
                </a:prstGeom>
                <a:noFill/>
              </p:spPr>
              <p:txBody>
                <a:bodyPr wrap="square" rtlCol="0">
                  <a:spAutoFit/>
                </a:bodyPr>
                <a:lstStyle/>
                <a:p>
                  <a:r>
                    <a:rPr lang="fr-FR" sz="1600" b="1" dirty="0">
                      <a:latin typeface="Times New Roman" panose="02020603050405020304" pitchFamily="18" charset="0"/>
                      <a:cs typeface="Times New Roman" panose="02020603050405020304" pitchFamily="18" charset="0"/>
                    </a:rPr>
                    <a:t>Côtés de caisse</a:t>
                  </a:r>
                </a:p>
              </p:txBody>
            </p:sp>
            <p:cxnSp>
              <p:nvCxnSpPr>
                <p:cNvPr id="22" name="Connector: Elbow 21">
                  <a:extLst>
                    <a:ext uri="{FF2B5EF4-FFF2-40B4-BE49-F238E27FC236}">
                      <a16:creationId xmlns:a16="http://schemas.microsoft.com/office/drawing/2014/main" id="{EB592B80-B414-454A-BD4C-42DD3CFD56E2}"/>
                    </a:ext>
                  </a:extLst>
                </p:cNvPr>
                <p:cNvCxnSpPr>
                  <a:cxnSpLocks/>
                </p:cNvCxnSpPr>
                <p:nvPr/>
              </p:nvCxnSpPr>
              <p:spPr>
                <a:xfrm rot="10800000">
                  <a:off x="489631" y="3941188"/>
                  <a:ext cx="1499809" cy="1306270"/>
                </a:xfrm>
                <a:prstGeom prst="bentConnector3">
                  <a:avLst>
                    <a:gd name="adj1" fmla="val 101214"/>
                  </a:avLst>
                </a:prstGeom>
                <a:ln>
                  <a:tailEnd type="triangle"/>
                </a:ln>
              </p:spPr>
              <p:style>
                <a:lnRef idx="1">
                  <a:schemeClr val="dk1"/>
                </a:lnRef>
                <a:fillRef idx="0">
                  <a:schemeClr val="dk1"/>
                </a:fillRef>
                <a:effectRef idx="0">
                  <a:schemeClr val="dk1"/>
                </a:effectRef>
                <a:fontRef idx="minor">
                  <a:schemeClr val="tx1"/>
                </a:fontRef>
              </p:style>
            </p:cxnSp>
            <p:cxnSp>
              <p:nvCxnSpPr>
                <p:cNvPr id="25" name="Connector: Elbow 24">
                  <a:extLst>
                    <a:ext uri="{FF2B5EF4-FFF2-40B4-BE49-F238E27FC236}">
                      <a16:creationId xmlns:a16="http://schemas.microsoft.com/office/drawing/2014/main" id="{BB0620DB-527C-4E26-B8B6-B7DCFB67F7AC}"/>
                    </a:ext>
                  </a:extLst>
                </p:cNvPr>
                <p:cNvCxnSpPr>
                  <a:cxnSpLocks/>
                </p:cNvCxnSpPr>
                <p:nvPr/>
              </p:nvCxnSpPr>
              <p:spPr>
                <a:xfrm>
                  <a:off x="313762" y="2727512"/>
                  <a:ext cx="1675676" cy="349320"/>
                </a:xfrm>
                <a:prstGeom prst="bentConnector3">
                  <a:avLst>
                    <a:gd name="adj1" fmla="val 100145"/>
                  </a:avLst>
                </a:prstGeom>
                <a:ln>
                  <a:tailEnd type="triangle"/>
                </a:ln>
              </p:spPr>
              <p:style>
                <a:lnRef idx="1">
                  <a:schemeClr val="dk1"/>
                </a:lnRef>
                <a:fillRef idx="0">
                  <a:schemeClr val="dk1"/>
                </a:fillRef>
                <a:effectRef idx="0">
                  <a:schemeClr val="dk1"/>
                </a:effectRef>
                <a:fontRef idx="minor">
                  <a:schemeClr val="tx1"/>
                </a:fontRef>
              </p:style>
            </p:cxnSp>
            <p:sp>
              <p:nvSpPr>
                <p:cNvPr id="33" name="TextBox 32">
                  <a:extLst>
                    <a:ext uri="{FF2B5EF4-FFF2-40B4-BE49-F238E27FC236}">
                      <a16:creationId xmlns:a16="http://schemas.microsoft.com/office/drawing/2014/main" id="{9BC1EF29-4FFE-4C5A-A970-516EFFB8F972}"/>
                    </a:ext>
                  </a:extLst>
                </p:cNvPr>
                <p:cNvSpPr txBox="1"/>
                <p:nvPr/>
              </p:nvSpPr>
              <p:spPr>
                <a:xfrm>
                  <a:off x="556194" y="2712857"/>
                  <a:ext cx="1499807" cy="338554"/>
                </a:xfrm>
                <a:prstGeom prst="rect">
                  <a:avLst/>
                </a:prstGeom>
                <a:noFill/>
              </p:spPr>
              <p:txBody>
                <a:bodyPr wrap="square" rtlCol="0">
                  <a:spAutoFit/>
                </a:bodyPr>
                <a:lstStyle/>
                <a:p>
                  <a:r>
                    <a:rPr lang="fr-FR" sz="1600" b="1" dirty="0">
                      <a:latin typeface="Times New Roman" panose="02020603050405020304" pitchFamily="18" charset="0"/>
                      <a:cs typeface="Times New Roman" panose="02020603050405020304" pitchFamily="18" charset="0"/>
                    </a:rPr>
                    <a:t>Traverses</a:t>
                  </a:r>
                </a:p>
              </p:txBody>
            </p:sp>
          </p:grpSp>
          <p:cxnSp>
            <p:nvCxnSpPr>
              <p:cNvPr id="112" name="Connector: Elbow 111">
                <a:extLst>
                  <a:ext uri="{FF2B5EF4-FFF2-40B4-BE49-F238E27FC236}">
                    <a16:creationId xmlns:a16="http://schemas.microsoft.com/office/drawing/2014/main" id="{F02FB8AB-597A-4D74-89CF-827EFB25964B}"/>
                  </a:ext>
                </a:extLst>
              </p:cNvPr>
              <p:cNvCxnSpPr>
                <a:cxnSpLocks/>
              </p:cNvCxnSpPr>
              <p:nvPr/>
            </p:nvCxnSpPr>
            <p:spPr>
              <a:xfrm rot="10800000" flipV="1">
                <a:off x="3363087" y="3569047"/>
                <a:ext cx="2110386" cy="615774"/>
              </a:xfrm>
              <a:prstGeom prst="bentConnector3">
                <a:avLst>
                  <a:gd name="adj1" fmla="val 100355"/>
                </a:avLst>
              </a:prstGeom>
              <a:ln>
                <a:tailEnd type="triangle"/>
              </a:ln>
            </p:spPr>
            <p:style>
              <a:lnRef idx="1">
                <a:schemeClr val="dk1"/>
              </a:lnRef>
              <a:fillRef idx="0">
                <a:schemeClr val="dk1"/>
              </a:fillRef>
              <a:effectRef idx="0">
                <a:schemeClr val="dk1"/>
              </a:effectRef>
              <a:fontRef idx="minor">
                <a:schemeClr val="tx1"/>
              </a:fontRef>
            </p:style>
          </p:cxnSp>
          <p:sp>
            <p:nvSpPr>
              <p:cNvPr id="113" name="TextBox 112">
                <a:extLst>
                  <a:ext uri="{FF2B5EF4-FFF2-40B4-BE49-F238E27FC236}">
                    <a16:creationId xmlns:a16="http://schemas.microsoft.com/office/drawing/2014/main" id="{C592A48E-6580-4B34-A0D3-4287E97DF860}"/>
                  </a:ext>
                </a:extLst>
              </p:cNvPr>
              <p:cNvSpPr txBox="1"/>
              <p:nvPr/>
            </p:nvSpPr>
            <p:spPr>
              <a:xfrm>
                <a:off x="3313190" y="3597453"/>
                <a:ext cx="2187499" cy="338554"/>
              </a:xfrm>
              <a:prstGeom prst="rect">
                <a:avLst/>
              </a:prstGeom>
              <a:noFill/>
            </p:spPr>
            <p:txBody>
              <a:bodyPr wrap="square" rtlCol="0">
                <a:spAutoFit/>
              </a:bodyPr>
              <a:lstStyle/>
              <a:p>
                <a:r>
                  <a:rPr lang="fr-FR" sz="1600" b="1" dirty="0">
                    <a:latin typeface="Times New Roman" panose="02020603050405020304" pitchFamily="18" charset="0"/>
                    <a:cs typeface="Times New Roman" panose="02020603050405020304" pitchFamily="18" charset="0"/>
                  </a:rPr>
                  <a:t>Romaine barre de toit</a:t>
                </a:r>
              </a:p>
            </p:txBody>
          </p:sp>
        </p:grpSp>
        <p:pic>
          <p:nvPicPr>
            <p:cNvPr id="111" name="Picture 110">
              <a:extLst>
                <a:ext uri="{FF2B5EF4-FFF2-40B4-BE49-F238E27FC236}">
                  <a16:creationId xmlns:a16="http://schemas.microsoft.com/office/drawing/2014/main" id="{FA07CDBF-BB5D-4466-A1F4-B65810409FB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28742" y="4062937"/>
              <a:ext cx="1255437" cy="577458"/>
            </a:xfrm>
            <a:prstGeom prst="rect">
              <a:avLst/>
            </a:prstGeom>
            <a:scene3d>
              <a:camera prst="perspectiveRelaxed"/>
              <a:lightRig rig="threePt" dir="t"/>
            </a:scene3d>
          </p:spPr>
        </p:pic>
      </p:grpSp>
      <p:sp>
        <p:nvSpPr>
          <p:cNvPr id="5" name="Espace réservé du numéro de diapositive 4">
            <a:extLst>
              <a:ext uri="{FF2B5EF4-FFF2-40B4-BE49-F238E27FC236}">
                <a16:creationId xmlns:a16="http://schemas.microsoft.com/office/drawing/2014/main" id="{1F1AFD91-229F-461F-800D-C6839580435B}"/>
              </a:ext>
            </a:extLst>
          </p:cNvPr>
          <p:cNvSpPr>
            <a:spLocks noGrp="1"/>
          </p:cNvSpPr>
          <p:nvPr>
            <p:ph type="sldNum" sz="quarter" idx="12"/>
          </p:nvPr>
        </p:nvSpPr>
        <p:spPr>
          <a:xfrm>
            <a:off x="11354953" y="6082259"/>
            <a:ext cx="474215" cy="538944"/>
          </a:xfrm>
        </p:spPr>
        <p:txBody>
          <a:bodyPr/>
          <a:lstStyle/>
          <a:p>
            <a:r>
              <a:rPr lang="fr-FR" sz="1800" dirty="0">
                <a:solidFill>
                  <a:schemeClr val="bg1"/>
                </a:solidFill>
                <a:latin typeface="Lato" panose="020F0502020204030203"/>
              </a:rPr>
              <a:t>3</a:t>
            </a:r>
            <a:endParaRPr lang="fr-FR" sz="1400" dirty="0">
              <a:solidFill>
                <a:schemeClr val="bg1"/>
              </a:solidFill>
              <a:latin typeface="Lato" panose="020F0502020204030203"/>
            </a:endParaRPr>
          </a:p>
        </p:txBody>
      </p:sp>
      <p:grpSp>
        <p:nvGrpSpPr>
          <p:cNvPr id="20" name="Group 19">
            <a:extLst>
              <a:ext uri="{FF2B5EF4-FFF2-40B4-BE49-F238E27FC236}">
                <a16:creationId xmlns:a16="http://schemas.microsoft.com/office/drawing/2014/main" id="{20B095EB-DA0B-41B5-9650-A05766E78E9C}"/>
              </a:ext>
            </a:extLst>
          </p:cNvPr>
          <p:cNvGrpSpPr/>
          <p:nvPr/>
        </p:nvGrpSpPr>
        <p:grpSpPr>
          <a:xfrm>
            <a:off x="211292" y="1090473"/>
            <a:ext cx="4072887" cy="2083506"/>
            <a:chOff x="-509198" y="2397442"/>
            <a:chExt cx="4776926" cy="2397442"/>
          </a:xfrm>
        </p:grpSpPr>
        <p:grpSp>
          <p:nvGrpSpPr>
            <p:cNvPr id="19" name="Group 18">
              <a:extLst>
                <a:ext uri="{FF2B5EF4-FFF2-40B4-BE49-F238E27FC236}">
                  <a16:creationId xmlns:a16="http://schemas.microsoft.com/office/drawing/2014/main" id="{9062FBBA-9B10-4EF2-968E-3F42FDC96CC9}"/>
                </a:ext>
              </a:extLst>
            </p:cNvPr>
            <p:cNvGrpSpPr/>
            <p:nvPr/>
          </p:nvGrpSpPr>
          <p:grpSpPr>
            <a:xfrm>
              <a:off x="-509198" y="2397442"/>
              <a:ext cx="4776926" cy="2397442"/>
              <a:chOff x="-509198" y="2397442"/>
              <a:chExt cx="4776926" cy="2397442"/>
            </a:xfrm>
          </p:grpSpPr>
          <p:pic>
            <p:nvPicPr>
              <p:cNvPr id="2" name="Picture 1">
                <a:extLst>
                  <a:ext uri="{FF2B5EF4-FFF2-40B4-BE49-F238E27FC236}">
                    <a16:creationId xmlns:a16="http://schemas.microsoft.com/office/drawing/2014/main" id="{AF9005CA-716D-4382-9BFB-F6FC0D0E4946}"/>
                  </a:ext>
                </a:extLst>
              </p:cNvPr>
              <p:cNvPicPr>
                <a:picLocks noChangeAspect="1"/>
              </p:cNvPicPr>
              <p:nvPr/>
            </p:nvPicPr>
            <p:blipFill>
              <a:blip r:embed="rId7"/>
              <a:stretch>
                <a:fillRect/>
              </a:stretch>
            </p:blipFill>
            <p:spPr>
              <a:xfrm>
                <a:off x="-509198" y="2397442"/>
                <a:ext cx="4776926" cy="2397442"/>
              </a:xfrm>
              <a:prstGeom prst="rect">
                <a:avLst/>
              </a:prstGeom>
            </p:spPr>
          </p:pic>
          <p:sp>
            <p:nvSpPr>
              <p:cNvPr id="13" name="TextBox 12">
                <a:extLst>
                  <a:ext uri="{FF2B5EF4-FFF2-40B4-BE49-F238E27FC236}">
                    <a16:creationId xmlns:a16="http://schemas.microsoft.com/office/drawing/2014/main" id="{311FC032-E032-41CB-AE63-ADE5BF2137EC}"/>
                  </a:ext>
                </a:extLst>
              </p:cNvPr>
              <p:cNvSpPr txBox="1"/>
              <p:nvPr/>
            </p:nvSpPr>
            <p:spPr>
              <a:xfrm>
                <a:off x="2413811" y="4119891"/>
                <a:ext cx="1737976" cy="389566"/>
              </a:xfrm>
              <a:prstGeom prst="rect">
                <a:avLst/>
              </a:prstGeom>
              <a:noFill/>
            </p:spPr>
            <p:txBody>
              <a:bodyPr wrap="square" rtlCol="0">
                <a:spAutoFit/>
              </a:bodyPr>
              <a:lstStyle/>
              <a:p>
                <a:r>
                  <a:rPr lang="fr-FR" sz="1600" b="1" dirty="0">
                    <a:latin typeface="Times New Roman" panose="02020603050405020304" pitchFamily="18" charset="0"/>
                    <a:cs typeface="Times New Roman" panose="02020603050405020304" pitchFamily="18" charset="0"/>
                  </a:rPr>
                  <a:t>Soubassement</a:t>
                </a:r>
              </a:p>
            </p:txBody>
          </p:sp>
        </p:grpSp>
        <p:cxnSp>
          <p:nvCxnSpPr>
            <p:cNvPr id="9" name="Connector: Elbow 8">
              <a:extLst>
                <a:ext uri="{FF2B5EF4-FFF2-40B4-BE49-F238E27FC236}">
                  <a16:creationId xmlns:a16="http://schemas.microsoft.com/office/drawing/2014/main" id="{4A94034C-9C49-422D-9AD7-13BC8DC6911D}"/>
                </a:ext>
              </a:extLst>
            </p:cNvPr>
            <p:cNvCxnSpPr>
              <a:cxnSpLocks/>
            </p:cNvCxnSpPr>
            <p:nvPr/>
          </p:nvCxnSpPr>
          <p:spPr>
            <a:xfrm rot="10800000">
              <a:off x="2413812" y="3909061"/>
              <a:ext cx="992333" cy="551503"/>
            </a:xfrm>
            <a:prstGeom prst="bentConnector3">
              <a:avLst>
                <a:gd name="adj1" fmla="val 99529"/>
              </a:avLst>
            </a:prstGeom>
            <a:ln>
              <a:tailEnd type="triangle"/>
            </a:ln>
          </p:spPr>
          <p:style>
            <a:lnRef idx="1">
              <a:schemeClr val="dk1"/>
            </a:lnRef>
            <a:fillRef idx="0">
              <a:schemeClr val="dk1"/>
            </a:fillRef>
            <a:effectRef idx="0">
              <a:schemeClr val="dk1"/>
            </a:effectRef>
            <a:fontRef idx="minor">
              <a:schemeClr val="tx1"/>
            </a:fontRef>
          </p:style>
        </p:cxnSp>
      </p:grpSp>
      <p:grpSp>
        <p:nvGrpSpPr>
          <p:cNvPr id="89" name="Groupe 28">
            <a:extLst>
              <a:ext uri="{FF2B5EF4-FFF2-40B4-BE49-F238E27FC236}">
                <a16:creationId xmlns:a16="http://schemas.microsoft.com/office/drawing/2014/main" id="{EAC03234-DCF9-4159-8FED-B06A54DB43D3}"/>
              </a:ext>
            </a:extLst>
          </p:cNvPr>
          <p:cNvGrpSpPr/>
          <p:nvPr/>
        </p:nvGrpSpPr>
        <p:grpSpPr>
          <a:xfrm>
            <a:off x="118427" y="873455"/>
            <a:ext cx="3922483" cy="423771"/>
            <a:chOff x="1753712" y="816113"/>
            <a:chExt cx="2831900" cy="423771"/>
          </a:xfrm>
        </p:grpSpPr>
        <p:sp>
          <p:nvSpPr>
            <p:cNvPr id="90" name="ZoneTexte 20">
              <a:extLst>
                <a:ext uri="{FF2B5EF4-FFF2-40B4-BE49-F238E27FC236}">
                  <a16:creationId xmlns:a16="http://schemas.microsoft.com/office/drawing/2014/main" id="{B1A77ED9-5568-4619-8DDC-A74661A1B376}"/>
                </a:ext>
              </a:extLst>
            </p:cNvPr>
            <p:cNvSpPr txBox="1"/>
            <p:nvPr/>
          </p:nvSpPr>
          <p:spPr>
            <a:xfrm>
              <a:off x="1753712" y="816113"/>
              <a:ext cx="2831900"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600" dirty="0">
                  <a:solidFill>
                    <a:schemeClr val="bg2">
                      <a:lumMod val="90000"/>
                    </a:schemeClr>
                  </a:solidFill>
                  <a:latin typeface="Lato  "/>
                </a:rPr>
                <a:t>   Organisme d’accueil RENAULT TANGER</a:t>
              </a:r>
            </a:p>
          </p:txBody>
        </p:sp>
        <p:cxnSp>
          <p:nvCxnSpPr>
            <p:cNvPr id="91" name="Connecteur droit 51">
              <a:extLst>
                <a:ext uri="{FF2B5EF4-FFF2-40B4-BE49-F238E27FC236}">
                  <a16:creationId xmlns:a16="http://schemas.microsoft.com/office/drawing/2014/main" id="{BDCF71DD-2A26-4AA8-A58E-BCA38D479F25}"/>
                </a:ext>
              </a:extLst>
            </p:cNvPr>
            <p:cNvCxnSpPr/>
            <p:nvPr/>
          </p:nvCxnSpPr>
          <p:spPr>
            <a:xfrm>
              <a:off x="1860066" y="1239884"/>
              <a:ext cx="540001"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2" name="Groupe 12">
            <a:extLst>
              <a:ext uri="{FF2B5EF4-FFF2-40B4-BE49-F238E27FC236}">
                <a16:creationId xmlns:a16="http://schemas.microsoft.com/office/drawing/2014/main" id="{F7440CB9-9562-4FF8-8BAF-1ABB1AE1E85F}"/>
              </a:ext>
            </a:extLst>
          </p:cNvPr>
          <p:cNvGrpSpPr/>
          <p:nvPr/>
        </p:nvGrpSpPr>
        <p:grpSpPr>
          <a:xfrm>
            <a:off x="4378238" y="860921"/>
            <a:ext cx="3233729" cy="379493"/>
            <a:chOff x="5059598" y="818819"/>
            <a:chExt cx="3233729" cy="379493"/>
          </a:xfrm>
        </p:grpSpPr>
        <p:sp>
          <p:nvSpPr>
            <p:cNvPr id="93" name="ZoneTexte 23">
              <a:extLst>
                <a:ext uri="{FF2B5EF4-FFF2-40B4-BE49-F238E27FC236}">
                  <a16:creationId xmlns:a16="http://schemas.microsoft.com/office/drawing/2014/main" id="{E45A5D73-4667-4809-BE33-3FF9DE2CD1DF}"/>
                </a:ext>
              </a:extLst>
            </p:cNvPr>
            <p:cNvSpPr txBox="1"/>
            <p:nvPr/>
          </p:nvSpPr>
          <p:spPr>
            <a:xfrm>
              <a:off x="5059598" y="818819"/>
              <a:ext cx="3233729" cy="338554"/>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600" dirty="0">
                  <a:solidFill>
                    <a:schemeClr val="bg2">
                      <a:lumMod val="90000"/>
                    </a:schemeClr>
                  </a:solidFill>
                  <a:latin typeface="Lato  "/>
                </a:rPr>
                <a:t>Processus de fabrication de l’usine</a:t>
              </a:r>
            </a:p>
          </p:txBody>
        </p:sp>
        <p:cxnSp>
          <p:nvCxnSpPr>
            <p:cNvPr id="94" name="Connecteur droit 64">
              <a:extLst>
                <a:ext uri="{FF2B5EF4-FFF2-40B4-BE49-F238E27FC236}">
                  <a16:creationId xmlns:a16="http://schemas.microsoft.com/office/drawing/2014/main" id="{631A3372-1AED-4161-8674-EB39C3861777}"/>
                </a:ext>
              </a:extLst>
            </p:cNvPr>
            <p:cNvCxnSpPr/>
            <p:nvPr/>
          </p:nvCxnSpPr>
          <p:spPr>
            <a:xfrm>
              <a:off x="5411034" y="1198312"/>
              <a:ext cx="771015" cy="0"/>
            </a:xfrm>
            <a:prstGeom prst="line">
              <a:avLst/>
            </a:prstGeom>
            <a:ln w="28575">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95" name="ZoneTexte 53">
            <a:extLst>
              <a:ext uri="{FF2B5EF4-FFF2-40B4-BE49-F238E27FC236}">
                <a16:creationId xmlns:a16="http://schemas.microsoft.com/office/drawing/2014/main" id="{A447734B-D304-4DA8-9695-D2ED0DBED6CE}"/>
              </a:ext>
            </a:extLst>
          </p:cNvPr>
          <p:cNvSpPr txBox="1"/>
          <p:nvPr/>
        </p:nvSpPr>
        <p:spPr>
          <a:xfrm>
            <a:off x="390860" y="74183"/>
            <a:ext cx="1821107" cy="646331"/>
          </a:xfrm>
          <a:prstGeom prst="rect">
            <a:avLst/>
          </a:prstGeom>
          <a:solidFill>
            <a:srgbClr val="020088"/>
          </a:solidFill>
        </p:spPr>
        <p:txBody>
          <a:bodyPr wrap="square" rtlCol="0">
            <a:spAutoFit/>
          </a:bodyPr>
          <a:lstStyle>
            <a:defPPr>
              <a:defRPr lang="fr-FR"/>
            </a:defPPr>
            <a:lvl1pPr algn="ctr">
              <a:defRPr sz="2000">
                <a:solidFill>
                  <a:schemeClr val="bg1"/>
                </a:solidFill>
                <a:latin typeface="Lato  "/>
              </a:defRPr>
            </a:lvl1pPr>
          </a:lstStyle>
          <a:p>
            <a:r>
              <a:rPr lang="it-IT" sz="1800" dirty="0"/>
              <a:t>Environnement </a:t>
            </a:r>
          </a:p>
          <a:p>
            <a:r>
              <a:rPr lang="it-IT" sz="1800" dirty="0"/>
              <a:t>du projet</a:t>
            </a:r>
            <a:endParaRPr lang="fr-FR" sz="1800" dirty="0"/>
          </a:p>
        </p:txBody>
      </p:sp>
      <p:sp>
        <p:nvSpPr>
          <p:cNvPr id="96" name="ZoneTexte 54">
            <a:extLst>
              <a:ext uri="{FF2B5EF4-FFF2-40B4-BE49-F238E27FC236}">
                <a16:creationId xmlns:a16="http://schemas.microsoft.com/office/drawing/2014/main" id="{817BB709-4D88-4B7B-8A4F-B4C70898CC8A}"/>
              </a:ext>
            </a:extLst>
          </p:cNvPr>
          <p:cNvSpPr txBox="1"/>
          <p:nvPr/>
        </p:nvSpPr>
        <p:spPr>
          <a:xfrm>
            <a:off x="6433678" y="74184"/>
            <a:ext cx="1784587" cy="646331"/>
          </a:xfrm>
          <a:prstGeom prst="rect">
            <a:avLst/>
          </a:prstGeom>
          <a:solidFill>
            <a:schemeClr val="bg2"/>
          </a:solidFill>
        </p:spPr>
        <p:txBody>
          <a:bodyPr wrap="square" rtlCol="0">
            <a:spAutoFit/>
          </a:bodyPr>
          <a:lstStyle>
            <a:defPPr>
              <a:defRPr lang="fr-FR"/>
            </a:defPPr>
            <a:lvl1pPr algn="ctr">
              <a:defRPr sz="2000">
                <a:latin typeface="Lato  "/>
              </a:defRPr>
            </a:lvl1pPr>
          </a:lstStyle>
          <a:p>
            <a:r>
              <a:rPr lang="it-IT" sz="1800" dirty="0"/>
              <a:t>Mise en oeuvre du projet</a:t>
            </a:r>
            <a:endParaRPr lang="fr-FR" sz="1800" dirty="0"/>
          </a:p>
        </p:txBody>
      </p:sp>
      <p:sp>
        <p:nvSpPr>
          <p:cNvPr id="97" name="ZoneTexte 55">
            <a:extLst>
              <a:ext uri="{FF2B5EF4-FFF2-40B4-BE49-F238E27FC236}">
                <a16:creationId xmlns:a16="http://schemas.microsoft.com/office/drawing/2014/main" id="{9173DBAF-AAA2-49E1-8F36-59D22D7FB62B}"/>
              </a:ext>
            </a:extLst>
          </p:cNvPr>
          <p:cNvSpPr txBox="1"/>
          <p:nvPr/>
        </p:nvSpPr>
        <p:spPr>
          <a:xfrm>
            <a:off x="9319488" y="74730"/>
            <a:ext cx="1752879" cy="646331"/>
          </a:xfrm>
          <a:prstGeom prst="rect">
            <a:avLst/>
          </a:prstGeom>
          <a:solidFill>
            <a:schemeClr val="bg2"/>
          </a:solidFill>
        </p:spPr>
        <p:txBody>
          <a:bodyPr wrap="square" rtlCol="0">
            <a:spAutoFit/>
          </a:bodyPr>
          <a:lstStyle/>
          <a:p>
            <a:pPr algn="ctr"/>
            <a:r>
              <a:rPr lang="it-IT" dirty="0">
                <a:latin typeface="Lato  "/>
              </a:rPr>
              <a:t>Conclusion et</a:t>
            </a:r>
          </a:p>
          <a:p>
            <a:pPr algn="ctr"/>
            <a:r>
              <a:rPr lang="it-IT" dirty="0">
                <a:latin typeface="Lato  "/>
              </a:rPr>
              <a:t> Perspectives</a:t>
            </a:r>
            <a:endParaRPr lang="fr-FR" dirty="0">
              <a:latin typeface="Lato  "/>
            </a:endParaRPr>
          </a:p>
        </p:txBody>
      </p:sp>
      <p:cxnSp>
        <p:nvCxnSpPr>
          <p:cNvPr id="98" name="Connecteur droit 56">
            <a:extLst>
              <a:ext uri="{FF2B5EF4-FFF2-40B4-BE49-F238E27FC236}">
                <a16:creationId xmlns:a16="http://schemas.microsoft.com/office/drawing/2014/main" id="{91CAF87B-D76B-4090-8FBB-E4D3B5EFAB6E}"/>
              </a:ext>
            </a:extLst>
          </p:cNvPr>
          <p:cNvCxnSpPr>
            <a:cxnSpLocks/>
          </p:cNvCxnSpPr>
          <p:nvPr/>
        </p:nvCxnSpPr>
        <p:spPr>
          <a:xfrm>
            <a:off x="11077903" y="410171"/>
            <a:ext cx="793875"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99" name="Connecteur droit 57">
            <a:extLst>
              <a:ext uri="{FF2B5EF4-FFF2-40B4-BE49-F238E27FC236}">
                <a16:creationId xmlns:a16="http://schemas.microsoft.com/office/drawing/2014/main" id="{9B51A05E-FDC6-408F-9976-831976815064}"/>
              </a:ext>
            </a:extLst>
          </p:cNvPr>
          <p:cNvCxnSpPr>
            <a:cxnSpLocks/>
            <a:stCxn id="95" idx="3"/>
            <a:endCxn id="108" idx="1"/>
          </p:cNvCxnSpPr>
          <p:nvPr/>
        </p:nvCxnSpPr>
        <p:spPr>
          <a:xfrm>
            <a:off x="2211967" y="397349"/>
            <a:ext cx="1101223" cy="1"/>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cxnSp>
        <p:nvCxnSpPr>
          <p:cNvPr id="100" name="Connecteur droit 58">
            <a:extLst>
              <a:ext uri="{FF2B5EF4-FFF2-40B4-BE49-F238E27FC236}">
                <a16:creationId xmlns:a16="http://schemas.microsoft.com/office/drawing/2014/main" id="{0B12F7B5-4643-4D61-90D3-C951EC36FF46}"/>
              </a:ext>
            </a:extLst>
          </p:cNvPr>
          <p:cNvCxnSpPr>
            <a:cxnSpLocks/>
            <a:stCxn id="96" idx="3"/>
            <a:endCxn id="97" idx="1"/>
          </p:cNvCxnSpPr>
          <p:nvPr/>
        </p:nvCxnSpPr>
        <p:spPr>
          <a:xfrm>
            <a:off x="8218265" y="397350"/>
            <a:ext cx="1101223" cy="546"/>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grpSp>
        <p:nvGrpSpPr>
          <p:cNvPr id="101" name="Group 3">
            <a:extLst>
              <a:ext uri="{FF2B5EF4-FFF2-40B4-BE49-F238E27FC236}">
                <a16:creationId xmlns:a16="http://schemas.microsoft.com/office/drawing/2014/main" id="{9BCE034F-9A73-464D-8C99-C74C9C7D537E}"/>
              </a:ext>
            </a:extLst>
          </p:cNvPr>
          <p:cNvGrpSpPr/>
          <p:nvPr/>
        </p:nvGrpSpPr>
        <p:grpSpPr>
          <a:xfrm rot="10800000">
            <a:off x="11632841" y="410171"/>
            <a:ext cx="504000" cy="6352766"/>
            <a:chOff x="-5771165" y="1295207"/>
            <a:chExt cx="504000" cy="6352766"/>
          </a:xfrm>
          <a:solidFill>
            <a:srgbClr val="020088"/>
          </a:solidFill>
        </p:grpSpPr>
        <p:cxnSp>
          <p:nvCxnSpPr>
            <p:cNvPr id="102" name="Straight Connector 9">
              <a:extLst>
                <a:ext uri="{FF2B5EF4-FFF2-40B4-BE49-F238E27FC236}">
                  <a16:creationId xmlns:a16="http://schemas.microsoft.com/office/drawing/2014/main" id="{6E61F24F-31A2-478B-BD98-A41A5B7AEF18}"/>
                </a:ext>
              </a:extLst>
            </p:cNvPr>
            <p:cNvCxnSpPr>
              <a:cxnSpLocks/>
            </p:cNvCxnSpPr>
            <p:nvPr/>
          </p:nvCxnSpPr>
          <p:spPr>
            <a:xfrm rot="10800000" flipV="1">
              <a:off x="-5506102" y="1610316"/>
              <a:ext cx="0" cy="6037657"/>
            </a:xfrm>
            <a:prstGeom prst="line">
              <a:avLst/>
            </a:prstGeom>
            <a:grpFill/>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103" name="Teardrop 38">
              <a:extLst>
                <a:ext uri="{FF2B5EF4-FFF2-40B4-BE49-F238E27FC236}">
                  <a16:creationId xmlns:a16="http://schemas.microsoft.com/office/drawing/2014/main" id="{BC31CB1C-A780-4B36-AB1E-1D1782260A18}"/>
                </a:ext>
              </a:extLst>
            </p:cNvPr>
            <p:cNvSpPr/>
            <p:nvPr/>
          </p:nvSpPr>
          <p:spPr>
            <a:xfrm rot="8100000">
              <a:off x="-5771165" y="1295207"/>
              <a:ext cx="504000" cy="504000"/>
            </a:xfrm>
            <a:prstGeom prst="teardrop">
              <a:avLst>
                <a:gd name="adj" fmla="val 9891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40" rtl="0" eaLnBrk="1" latinLnBrk="0" hangingPunct="1">
                <a:defRPr sz="1800" kern="1200">
                  <a:solidFill>
                    <a:schemeClr val="lt1"/>
                  </a:solidFill>
                  <a:latin typeface="+mn-lt"/>
                  <a:ea typeface="+mn-ea"/>
                  <a:cs typeface="+mn-cs"/>
                </a:defRPr>
              </a:lvl1pPr>
              <a:lvl2pPr marL="457170" algn="l" defTabSz="914340" rtl="0" eaLnBrk="1" latinLnBrk="0" hangingPunct="1">
                <a:defRPr sz="1800" kern="1200">
                  <a:solidFill>
                    <a:schemeClr val="lt1"/>
                  </a:solidFill>
                  <a:latin typeface="+mn-lt"/>
                  <a:ea typeface="+mn-ea"/>
                  <a:cs typeface="+mn-cs"/>
                </a:defRPr>
              </a:lvl2pPr>
              <a:lvl3pPr marL="914340" algn="l" defTabSz="914340" rtl="0" eaLnBrk="1" latinLnBrk="0" hangingPunct="1">
                <a:defRPr sz="1800" kern="1200">
                  <a:solidFill>
                    <a:schemeClr val="lt1"/>
                  </a:solidFill>
                  <a:latin typeface="+mn-lt"/>
                  <a:ea typeface="+mn-ea"/>
                  <a:cs typeface="+mn-cs"/>
                </a:defRPr>
              </a:lvl3pPr>
              <a:lvl4pPr marL="1371511" algn="l" defTabSz="914340" rtl="0" eaLnBrk="1" latinLnBrk="0" hangingPunct="1">
                <a:defRPr sz="1800" kern="1200">
                  <a:solidFill>
                    <a:schemeClr val="lt1"/>
                  </a:solidFill>
                  <a:latin typeface="+mn-lt"/>
                  <a:ea typeface="+mn-ea"/>
                  <a:cs typeface="+mn-cs"/>
                </a:defRPr>
              </a:lvl4pPr>
              <a:lvl5pPr marL="1828681" algn="l" defTabSz="914340" rtl="0" eaLnBrk="1" latinLnBrk="0" hangingPunct="1">
                <a:defRPr sz="1800" kern="1200">
                  <a:solidFill>
                    <a:schemeClr val="lt1"/>
                  </a:solidFill>
                  <a:latin typeface="+mn-lt"/>
                  <a:ea typeface="+mn-ea"/>
                  <a:cs typeface="+mn-cs"/>
                </a:defRPr>
              </a:lvl5pPr>
              <a:lvl6pPr marL="2285852" algn="l" defTabSz="914340" rtl="0" eaLnBrk="1" latinLnBrk="0" hangingPunct="1">
                <a:defRPr sz="1800" kern="1200">
                  <a:solidFill>
                    <a:schemeClr val="lt1"/>
                  </a:solidFill>
                  <a:latin typeface="+mn-lt"/>
                  <a:ea typeface="+mn-ea"/>
                  <a:cs typeface="+mn-cs"/>
                </a:defRPr>
              </a:lvl6pPr>
              <a:lvl7pPr marL="2743021" algn="l" defTabSz="914340" rtl="0" eaLnBrk="1" latinLnBrk="0" hangingPunct="1">
                <a:defRPr sz="1800" kern="1200">
                  <a:solidFill>
                    <a:schemeClr val="lt1"/>
                  </a:solidFill>
                  <a:latin typeface="+mn-lt"/>
                  <a:ea typeface="+mn-ea"/>
                  <a:cs typeface="+mn-cs"/>
                </a:defRPr>
              </a:lvl7pPr>
              <a:lvl8pPr marL="3200193" algn="l" defTabSz="914340" rtl="0" eaLnBrk="1" latinLnBrk="0" hangingPunct="1">
                <a:defRPr sz="1800" kern="1200">
                  <a:solidFill>
                    <a:schemeClr val="lt1"/>
                  </a:solidFill>
                  <a:latin typeface="+mn-lt"/>
                  <a:ea typeface="+mn-ea"/>
                  <a:cs typeface="+mn-cs"/>
                </a:defRPr>
              </a:lvl8pPr>
              <a:lvl9pPr marL="3657363" algn="l" defTabSz="914340" rtl="0" eaLnBrk="1" latinLnBrk="0" hangingPunct="1">
                <a:defRPr sz="1800" kern="1200">
                  <a:solidFill>
                    <a:schemeClr val="lt1"/>
                  </a:solidFill>
                  <a:latin typeface="+mn-lt"/>
                  <a:ea typeface="+mn-ea"/>
                  <a:cs typeface="+mn-cs"/>
                </a:defRPr>
              </a:lvl9pPr>
            </a:lstStyle>
            <a:p>
              <a:pPr algn="ctr"/>
              <a:endParaRPr lang="id-ID" dirty="0"/>
            </a:p>
          </p:txBody>
        </p:sp>
      </p:grpSp>
      <p:sp>
        <p:nvSpPr>
          <p:cNvPr id="104" name="Espace réservé du numéro de diapositive 1">
            <a:extLst>
              <a:ext uri="{FF2B5EF4-FFF2-40B4-BE49-F238E27FC236}">
                <a16:creationId xmlns:a16="http://schemas.microsoft.com/office/drawing/2014/main" id="{CF951754-552E-4F2A-A4FD-97DEEDE5797F}"/>
              </a:ext>
            </a:extLst>
          </p:cNvPr>
          <p:cNvSpPr txBox="1">
            <a:spLocks/>
          </p:cNvSpPr>
          <p:nvPr/>
        </p:nvSpPr>
        <p:spPr>
          <a:xfrm>
            <a:off x="9292085" y="6296927"/>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600" dirty="0">
                <a:solidFill>
                  <a:schemeClr val="bg1"/>
                </a:solidFill>
                <a:latin typeface="Lato"/>
              </a:rPr>
              <a:t>5</a:t>
            </a:r>
          </a:p>
        </p:txBody>
      </p:sp>
      <p:grpSp>
        <p:nvGrpSpPr>
          <p:cNvPr id="105" name="Groupe 59">
            <a:extLst>
              <a:ext uri="{FF2B5EF4-FFF2-40B4-BE49-F238E27FC236}">
                <a16:creationId xmlns:a16="http://schemas.microsoft.com/office/drawing/2014/main" id="{BC5E7596-20F5-477A-967A-E2C569902370}"/>
              </a:ext>
            </a:extLst>
          </p:cNvPr>
          <p:cNvGrpSpPr/>
          <p:nvPr/>
        </p:nvGrpSpPr>
        <p:grpSpPr>
          <a:xfrm>
            <a:off x="7766479" y="841128"/>
            <a:ext cx="4307093" cy="399286"/>
            <a:chOff x="3692310" y="58690"/>
            <a:chExt cx="1655092" cy="420701"/>
          </a:xfrm>
        </p:grpSpPr>
        <p:sp>
          <p:nvSpPr>
            <p:cNvPr id="106" name="ZoneTexte 60">
              <a:extLst>
                <a:ext uri="{FF2B5EF4-FFF2-40B4-BE49-F238E27FC236}">
                  <a16:creationId xmlns:a16="http://schemas.microsoft.com/office/drawing/2014/main" id="{9B8B8915-64A4-4116-9E8B-B3849009B78B}"/>
                </a:ext>
              </a:extLst>
            </p:cNvPr>
            <p:cNvSpPr txBox="1"/>
            <p:nvPr/>
          </p:nvSpPr>
          <p:spPr>
            <a:xfrm>
              <a:off x="3692310" y="58690"/>
              <a:ext cx="1655092" cy="356712"/>
            </a:xfrm>
            <a:prstGeom prst="rect">
              <a:avLst/>
            </a:prstGeom>
            <a:noFill/>
            <a:ln>
              <a:no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600" b="1" dirty="0">
                  <a:latin typeface="Lato  "/>
                </a:rPr>
                <a:t>Processus de fabrication de l’atelier Tôlerie</a:t>
              </a:r>
            </a:p>
          </p:txBody>
        </p:sp>
        <p:cxnSp>
          <p:nvCxnSpPr>
            <p:cNvPr id="107" name="Connecteur droit 61">
              <a:extLst>
                <a:ext uri="{FF2B5EF4-FFF2-40B4-BE49-F238E27FC236}">
                  <a16:creationId xmlns:a16="http://schemas.microsoft.com/office/drawing/2014/main" id="{8089EDC7-2A5E-4E21-AB82-9B3422709030}"/>
                </a:ext>
              </a:extLst>
            </p:cNvPr>
            <p:cNvCxnSpPr/>
            <p:nvPr/>
          </p:nvCxnSpPr>
          <p:spPr>
            <a:xfrm>
              <a:off x="3911241" y="479391"/>
              <a:ext cx="296279" cy="0"/>
            </a:xfrm>
            <a:prstGeom prst="line">
              <a:avLst/>
            </a:prstGeom>
            <a:ln w="28575">
              <a:solidFill>
                <a:srgbClr val="EE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08" name="ZoneTexte 54">
            <a:extLst>
              <a:ext uri="{FF2B5EF4-FFF2-40B4-BE49-F238E27FC236}">
                <a16:creationId xmlns:a16="http://schemas.microsoft.com/office/drawing/2014/main" id="{F80F4D3D-D755-4CF1-9052-7447BD23F2F5}"/>
              </a:ext>
            </a:extLst>
          </p:cNvPr>
          <p:cNvSpPr txBox="1"/>
          <p:nvPr/>
        </p:nvSpPr>
        <p:spPr>
          <a:xfrm>
            <a:off x="3313190" y="74184"/>
            <a:ext cx="2024481" cy="646331"/>
          </a:xfrm>
          <a:prstGeom prst="rect">
            <a:avLst/>
          </a:prstGeom>
          <a:solidFill>
            <a:schemeClr val="bg2"/>
          </a:solidFill>
        </p:spPr>
        <p:txBody>
          <a:bodyPr wrap="square" rtlCol="0">
            <a:spAutoFit/>
          </a:bodyPr>
          <a:lstStyle>
            <a:defPPr>
              <a:defRPr lang="fr-FR"/>
            </a:defPPr>
            <a:lvl1pPr algn="ctr">
              <a:defRPr sz="2000">
                <a:latin typeface="Lato  "/>
              </a:defRPr>
            </a:lvl1pPr>
          </a:lstStyle>
          <a:p>
            <a:r>
              <a:rPr lang="it-IT" sz="1800" dirty="0"/>
              <a:t>Contexte Général</a:t>
            </a:r>
          </a:p>
          <a:p>
            <a:r>
              <a:rPr lang="it-IT" sz="1800" dirty="0"/>
              <a:t> du projet</a:t>
            </a:r>
          </a:p>
        </p:txBody>
      </p:sp>
      <p:cxnSp>
        <p:nvCxnSpPr>
          <p:cNvPr id="109" name="Connecteur droit 57">
            <a:extLst>
              <a:ext uri="{FF2B5EF4-FFF2-40B4-BE49-F238E27FC236}">
                <a16:creationId xmlns:a16="http://schemas.microsoft.com/office/drawing/2014/main" id="{0331F13F-3948-4448-9875-7E1EAA2C4E9C}"/>
              </a:ext>
            </a:extLst>
          </p:cNvPr>
          <p:cNvCxnSpPr>
            <a:cxnSpLocks/>
            <a:stCxn id="108" idx="3"/>
            <a:endCxn id="96" idx="1"/>
          </p:cNvCxnSpPr>
          <p:nvPr/>
        </p:nvCxnSpPr>
        <p:spPr>
          <a:xfrm>
            <a:off x="5337671" y="397350"/>
            <a:ext cx="1096007" cy="0"/>
          </a:xfrm>
          <a:prstGeom prst="line">
            <a:avLst/>
          </a:prstGeom>
          <a:ln w="12700">
            <a:solidFill>
              <a:srgbClr val="020088"/>
            </a:solidFill>
          </a:ln>
        </p:spPr>
        <p:style>
          <a:lnRef idx="1">
            <a:schemeClr val="accent1"/>
          </a:lnRef>
          <a:fillRef idx="0">
            <a:schemeClr val="accent1"/>
          </a:fillRef>
          <a:effectRef idx="0">
            <a:schemeClr val="accent1"/>
          </a:effectRef>
          <a:fontRef idx="minor">
            <a:schemeClr val="tx1"/>
          </a:fontRef>
        </p:style>
      </p:cxnSp>
      <p:sp>
        <p:nvSpPr>
          <p:cNvPr id="124" name="Oval 123">
            <a:extLst>
              <a:ext uri="{FF2B5EF4-FFF2-40B4-BE49-F238E27FC236}">
                <a16:creationId xmlns:a16="http://schemas.microsoft.com/office/drawing/2014/main" id="{0FB7DB2A-8FB7-41B2-95D5-56BB100B054A}"/>
              </a:ext>
            </a:extLst>
          </p:cNvPr>
          <p:cNvSpPr/>
          <p:nvPr/>
        </p:nvSpPr>
        <p:spPr>
          <a:xfrm>
            <a:off x="4729674" y="2171700"/>
            <a:ext cx="2046689" cy="1959775"/>
          </a:xfrm>
          <a:prstGeom prst="ellipse">
            <a:avLst/>
          </a:prstGeom>
          <a:solidFill>
            <a:srgbClr val="0200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latin typeface="Times New Roman" panose="02020603050405020304" pitchFamily="18" charset="0"/>
                <a:cs typeface="Times New Roman" panose="02020603050405020304" pitchFamily="18" charset="0"/>
              </a:rPr>
              <a:t>ATELIER Tôlerie</a:t>
            </a:r>
          </a:p>
        </p:txBody>
      </p:sp>
    </p:spTree>
    <p:extLst>
      <p:ext uri="{BB962C8B-B14F-4D97-AF65-F5344CB8AC3E}">
        <p14:creationId xmlns:p14="http://schemas.microsoft.com/office/powerpoint/2010/main" val="100911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nodeType="afterEffect">
                                  <p:stCondLst>
                                    <p:cond delay="0"/>
                                  </p:stCondLst>
                                  <p:childTnLst>
                                    <p:animRot by="120000">
                                      <p:cBhvr>
                                        <p:cTn id="6" dur="100" fill="hold">
                                          <p:stCondLst>
                                            <p:cond delay="0"/>
                                          </p:stCondLst>
                                        </p:cTn>
                                        <p:tgtEl>
                                          <p:spTgt spid="105"/>
                                        </p:tgtEl>
                                        <p:attrNameLst>
                                          <p:attrName>r</p:attrName>
                                        </p:attrNameLst>
                                      </p:cBhvr>
                                    </p:animRot>
                                    <p:animRot by="-240000">
                                      <p:cBhvr>
                                        <p:cTn id="7" dur="200" fill="hold">
                                          <p:stCondLst>
                                            <p:cond delay="200"/>
                                          </p:stCondLst>
                                        </p:cTn>
                                        <p:tgtEl>
                                          <p:spTgt spid="105"/>
                                        </p:tgtEl>
                                        <p:attrNameLst>
                                          <p:attrName>r</p:attrName>
                                        </p:attrNameLst>
                                      </p:cBhvr>
                                    </p:animRot>
                                    <p:animRot by="240000">
                                      <p:cBhvr>
                                        <p:cTn id="8" dur="200" fill="hold">
                                          <p:stCondLst>
                                            <p:cond delay="400"/>
                                          </p:stCondLst>
                                        </p:cTn>
                                        <p:tgtEl>
                                          <p:spTgt spid="105"/>
                                        </p:tgtEl>
                                        <p:attrNameLst>
                                          <p:attrName>r</p:attrName>
                                        </p:attrNameLst>
                                      </p:cBhvr>
                                    </p:animRot>
                                    <p:animRot by="-240000">
                                      <p:cBhvr>
                                        <p:cTn id="9" dur="200" fill="hold">
                                          <p:stCondLst>
                                            <p:cond delay="600"/>
                                          </p:stCondLst>
                                        </p:cTn>
                                        <p:tgtEl>
                                          <p:spTgt spid="105"/>
                                        </p:tgtEl>
                                        <p:attrNameLst>
                                          <p:attrName>r</p:attrName>
                                        </p:attrNameLst>
                                      </p:cBhvr>
                                    </p:animRot>
                                    <p:animRot by="120000">
                                      <p:cBhvr>
                                        <p:cTn id="10" dur="200" fill="hold">
                                          <p:stCondLst>
                                            <p:cond delay="800"/>
                                          </p:stCondLst>
                                        </p:cTn>
                                        <p:tgtEl>
                                          <p:spTgt spid="105"/>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1" nodeType="clickEffect">
                                  <p:stCondLst>
                                    <p:cond delay="0"/>
                                  </p:stCondLst>
                                  <p:iterate type="lt">
                                    <p:tmAbs val="0"/>
                                  </p:iterate>
                                  <p:childTnLst>
                                    <p:set>
                                      <p:cBhvr>
                                        <p:cTn id="14" dur="1" fill="hold">
                                          <p:stCondLst>
                                            <p:cond delay="0"/>
                                          </p:stCondLst>
                                        </p:cTn>
                                        <p:tgtEl>
                                          <p:spTgt spid="1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34" presetClass="emph" presetSubtype="0" fill="hold" grpId="0" nodeType="clickEffect">
                                  <p:stCondLst>
                                    <p:cond delay="0"/>
                                  </p:stCondLst>
                                  <p:iterate type="lt">
                                    <p:tmPct val="10000"/>
                                  </p:iterate>
                                  <p:childTnLst>
                                    <p:animMotion origin="layout" path="M 0.0 0.0 L 0.0 -0.07213" pathEditMode="relative" ptsTypes="">
                                      <p:cBhvr>
                                        <p:cTn id="18" dur="250" accel="50000" decel="50000" autoRev="1" fill="hold">
                                          <p:stCondLst>
                                            <p:cond delay="0"/>
                                          </p:stCondLst>
                                        </p:cTn>
                                        <p:tgtEl>
                                          <p:spTgt spid="124"/>
                                        </p:tgtEl>
                                        <p:attrNameLst>
                                          <p:attrName>ppt_x</p:attrName>
                                          <p:attrName>ppt_y</p:attrName>
                                        </p:attrNameLst>
                                      </p:cBhvr>
                                    </p:animMotion>
                                    <p:animRot by="1500000">
                                      <p:cBhvr>
                                        <p:cTn id="19" dur="125" fill="hold">
                                          <p:stCondLst>
                                            <p:cond delay="0"/>
                                          </p:stCondLst>
                                        </p:cTn>
                                        <p:tgtEl>
                                          <p:spTgt spid="124"/>
                                        </p:tgtEl>
                                        <p:attrNameLst>
                                          <p:attrName>r</p:attrName>
                                        </p:attrNameLst>
                                      </p:cBhvr>
                                    </p:animRot>
                                    <p:animRot by="-1500000">
                                      <p:cBhvr>
                                        <p:cTn id="20" dur="125" fill="hold">
                                          <p:stCondLst>
                                            <p:cond delay="125"/>
                                          </p:stCondLst>
                                        </p:cTn>
                                        <p:tgtEl>
                                          <p:spTgt spid="124"/>
                                        </p:tgtEl>
                                        <p:attrNameLst>
                                          <p:attrName>r</p:attrName>
                                        </p:attrNameLst>
                                      </p:cBhvr>
                                    </p:animRot>
                                    <p:animRot by="-1500000">
                                      <p:cBhvr>
                                        <p:cTn id="21" dur="125" fill="hold">
                                          <p:stCondLst>
                                            <p:cond delay="250"/>
                                          </p:stCondLst>
                                        </p:cTn>
                                        <p:tgtEl>
                                          <p:spTgt spid="124"/>
                                        </p:tgtEl>
                                        <p:attrNameLst>
                                          <p:attrName>r</p:attrName>
                                        </p:attrNameLst>
                                      </p:cBhvr>
                                    </p:animRot>
                                    <p:animRot by="1500000">
                                      <p:cBhvr>
                                        <p:cTn id="22" dur="125" fill="hold">
                                          <p:stCondLst>
                                            <p:cond delay="375"/>
                                          </p:stCondLst>
                                        </p:cTn>
                                        <p:tgtEl>
                                          <p:spTgt spid="124"/>
                                        </p:tgtEl>
                                        <p:attrNameLst>
                                          <p:attrName>r</p:attrName>
                                        </p:attrNameLst>
                                      </p:cBhvr>
                                    </p:animRo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123"/>
                                        </p:tgtEl>
                                        <p:attrNameLst>
                                          <p:attrName>style.visibility</p:attrName>
                                        </p:attrNameLst>
                                      </p:cBhvr>
                                      <p:to>
                                        <p:strVal val="visible"/>
                                      </p:to>
                                    </p:set>
                                  </p:childTnLst>
                                </p:cTn>
                              </p:par>
                              <p:par>
                                <p:cTn id="32" presetID="42" presetClass="path" presetSubtype="0" accel="50000" decel="50000" fill="hold" nodeType="withEffect">
                                  <p:stCondLst>
                                    <p:cond delay="0"/>
                                  </p:stCondLst>
                                  <p:childTnLst>
                                    <p:animMotion origin="layout" path="M 0.00365 -4.81481E-6 L 0.00729 0.16737 " pathEditMode="relative" rAng="0" ptsTypes="AA">
                                      <p:cBhvr>
                                        <p:cTn id="33" dur="2000" fill="hold"/>
                                        <p:tgtEl>
                                          <p:spTgt spid="123"/>
                                        </p:tgtEl>
                                        <p:attrNameLst>
                                          <p:attrName>ppt_x</p:attrName>
                                          <p:attrName>ppt_y</p:attrName>
                                        </p:attrNameLst>
                                      </p:cBhvr>
                                      <p:rCtr x="182" y="8356"/>
                                    </p:animMotion>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66"/>
                                        </p:tgtEl>
                                        <p:attrNameLst>
                                          <p:attrName>style.visibility</p:attrName>
                                        </p:attrNameLst>
                                      </p:cBhvr>
                                      <p:to>
                                        <p:strVal val="visible"/>
                                      </p:to>
                                    </p:set>
                                    <p:animEffect transition="in" filter="wipe(down)">
                                      <p:cBhvr>
                                        <p:cTn id="38" dur="500"/>
                                        <p:tgtEl>
                                          <p:spTgt spid="66"/>
                                        </p:tgtEl>
                                      </p:cBhvr>
                                    </p:animEffect>
                                  </p:childTnLst>
                                </p:cTn>
                              </p:par>
                              <p:par>
                                <p:cTn id="39" presetID="63" presetClass="path" presetSubtype="0" accel="50000" decel="50000" fill="hold" nodeType="withEffect">
                                  <p:stCondLst>
                                    <p:cond delay="0"/>
                                  </p:stCondLst>
                                  <p:childTnLst>
                                    <p:animMotion origin="layout" path="M -0.06797 0.00185 L 0.14675 0.00601 " pathEditMode="relative" rAng="0" ptsTypes="AA">
                                      <p:cBhvr>
                                        <p:cTn id="40" dur="2000" fill="hold"/>
                                        <p:tgtEl>
                                          <p:spTgt spid="66"/>
                                        </p:tgtEl>
                                        <p:attrNameLst>
                                          <p:attrName>ppt_x</p:attrName>
                                          <p:attrName>ppt_y</p:attrName>
                                        </p:attrNameLst>
                                      </p:cBhvr>
                                      <p:rCtr x="10729" y="208"/>
                                    </p:animMotion>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59"/>
                                        </p:tgtEl>
                                        <p:attrNameLst>
                                          <p:attrName>style.visibility</p:attrName>
                                        </p:attrNameLst>
                                      </p:cBhvr>
                                      <p:to>
                                        <p:strVal val="visible"/>
                                      </p:to>
                                    </p:set>
                                    <p:animEffect transition="in" filter="wipe(down)">
                                      <p:cBhvr>
                                        <p:cTn id="45" dur="500"/>
                                        <p:tgtEl>
                                          <p:spTgt spid="59"/>
                                        </p:tgtEl>
                                      </p:cBhvr>
                                    </p:animEffect>
                                  </p:childTnLst>
                                </p:cTn>
                              </p:par>
                              <p:par>
                                <p:cTn id="46" presetID="43" presetClass="path" presetSubtype="0" accel="50000" decel="50000" fill="hold" nodeType="withEffect">
                                  <p:stCondLst>
                                    <p:cond delay="0"/>
                                  </p:stCondLst>
                                  <p:childTnLst>
                                    <p:animMotion origin="layout" path="M 3.33333E-6 -0.04514 L 0.06106 -0.04514 C 0.08841 -0.04514 0.12226 -0.10185 0.12226 -0.14768 L 0.12226 -0.25 " pathEditMode="relative" rAng="0" ptsTypes="AAAA">
                                      <p:cBhvr>
                                        <p:cTn id="47" dur="2000" fill="hold"/>
                                        <p:tgtEl>
                                          <p:spTgt spid="59"/>
                                        </p:tgtEl>
                                        <p:attrNameLst>
                                          <p:attrName>ppt_x</p:attrName>
                                          <p:attrName>ppt_y</p:attrName>
                                        </p:attrNameLst>
                                      </p:cBhvr>
                                      <p:rCtr x="6107" y="-1025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animBg="1"/>
      <p:bldP spid="124"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ltran">
  <a:themeElements>
    <a:clrScheme name="Altran Palette">
      <a:dk1>
        <a:sysClr val="windowText" lastClr="000000"/>
      </a:dk1>
      <a:lt1>
        <a:srgbClr val="FFFFFF"/>
      </a:lt1>
      <a:dk2>
        <a:srgbClr val="007EAF"/>
      </a:dk2>
      <a:lt2>
        <a:srgbClr val="5F509B"/>
      </a:lt2>
      <a:accent1>
        <a:srgbClr val="EB5F1E"/>
      </a:accent1>
      <a:accent2>
        <a:srgbClr val="FAEB46"/>
      </a:accent2>
      <a:accent3>
        <a:srgbClr val="E12364"/>
      </a:accent3>
      <a:accent4>
        <a:srgbClr val="464B69"/>
      </a:accent4>
      <a:accent5>
        <a:srgbClr val="00B4B9"/>
      </a:accent5>
      <a:accent6>
        <a:srgbClr val="5FC3EB"/>
      </a:accent6>
      <a:hlink>
        <a:srgbClr val="007EAF"/>
      </a:hlink>
      <a:folHlink>
        <a:srgbClr val="007EAF"/>
      </a:folHlink>
    </a:clrScheme>
    <a:fontScheme name="Personnalisé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ltran_ppt_16-9-New.potx" id="{B1116B73-B85C-4C7B-8B95-0764CF0D0D13}" vid="{A6669749-7EC0-4E41-9396-4A8E29522470}"/>
    </a:ext>
  </a:extLst>
</a:theme>
</file>

<file path=ppt/theme/theme2.xml><?xml version="1.0" encoding="utf-8"?>
<a:theme xmlns:a="http://schemas.openxmlformats.org/drawingml/2006/main" name="Theme Altran">
  <a:themeElements>
    <a:clrScheme name="Altran bureautique">
      <a:dk1>
        <a:sysClr val="windowText" lastClr="000000"/>
      </a:dk1>
      <a:lt1>
        <a:srgbClr val="FFFFFF"/>
      </a:lt1>
      <a:dk2>
        <a:srgbClr val="007EAF"/>
      </a:dk2>
      <a:lt2>
        <a:srgbClr val="5F509B"/>
      </a:lt2>
      <a:accent1>
        <a:srgbClr val="EB5F1E"/>
      </a:accent1>
      <a:accent2>
        <a:srgbClr val="FAEB46"/>
      </a:accent2>
      <a:accent3>
        <a:srgbClr val="E12364"/>
      </a:accent3>
      <a:accent4>
        <a:srgbClr val="464B69"/>
      </a:accent4>
      <a:accent5>
        <a:srgbClr val="00B4B9"/>
      </a:accent5>
      <a:accent6>
        <a:srgbClr val="5FC3EB"/>
      </a:accent6>
      <a:hlink>
        <a:srgbClr val="007EAF"/>
      </a:hlink>
      <a:folHlink>
        <a:srgbClr val="007EA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modele final">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dele final" id="{0725D514-2CC1-4187-8779-9CA9BEF78FF4}" vid="{F1F14F00-35E2-4EFE-AACC-04BB1579B5F7}"/>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4F5CE2F5CEA946B6B391EE416611D2" ma:contentTypeVersion="18" ma:contentTypeDescription="Create a new document." ma:contentTypeScope="" ma:versionID="23792944e8228a98534b82d6b0ca4c4d">
  <xsd:schema xmlns:xsd="http://www.w3.org/2001/XMLSchema" xmlns:xs="http://www.w3.org/2001/XMLSchema" xmlns:p="http://schemas.microsoft.com/office/2006/metadata/properties" xmlns:ns2="b2350c62-7eb3-42b9-9bae-9a1293850a42" xmlns:ns3="b98a733e-afab-4ace-943a-7dbafac8117b" targetNamespace="http://schemas.microsoft.com/office/2006/metadata/properties" ma:root="true" ma:fieldsID="ad7426d640440cff1546c074cadd536a" ns2:_="" ns3:_="">
    <xsd:import namespace="b2350c62-7eb3-42b9-9bae-9a1293850a42"/>
    <xsd:import namespace="b98a733e-afab-4ace-943a-7dbafac8117b"/>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350c62-7eb3-42b9-9bae-9a1293850a42" elementFormDefault="qualified">
    <xsd:import namespace="http://schemas.microsoft.com/office/2006/documentManagement/types"/>
    <xsd:import namespace="http://schemas.microsoft.com/office/infopath/2007/PartnerControls"/>
    <xsd:element name="MediaServiceMetadata" ma:index="5" nillable="true" ma:displayName="MediaServiceMetadata" ma:hidden="true" ma:internalName="MediaServiceMetadata" ma:readOnly="true">
      <xsd:simpleType>
        <xsd:restriction base="dms:Note"/>
      </xsd:simpleType>
    </xsd:element>
    <xsd:element name="MediaServiceFastMetadata" ma:index="6" nillable="true" ma:displayName="MediaServiceFastMetadata" ma:hidden="true" ma:internalName="MediaServiceFastMetadata" ma:readOnly="true">
      <xsd:simpleType>
        <xsd:restriction base="dms:Note"/>
      </xsd:simpleType>
    </xsd:element>
    <xsd:element name="MediaServiceOCR" ma:index="7" nillable="true" ma:displayName="Extracted Text" ma:internalName="MediaServiceOCR" ma:readOnly="true">
      <xsd:simpleType>
        <xsd:restriction base="dms:Note">
          <xsd:maxLength value="255"/>
        </xsd:restriction>
      </xsd:simpleType>
    </xsd:element>
    <xsd:element name="MediaServiceGenerationTime" ma:index="8" nillable="true" ma:displayName="MediaServiceGenerationTime" ma:hidden="true" ma:internalName="MediaServiceGenerationTime" ma:readOnly="true">
      <xsd:simpleType>
        <xsd:restriction base="dms:Text"/>
      </xsd:simpleType>
    </xsd:element>
    <xsd:element name="MediaServiceEventHashCode" ma:index="9" nillable="true" ma:displayName="MediaServiceEventHashCode" ma:hidden="true" ma:internalName="MediaServiceEventHashCode" ma:readOnly="true">
      <xsd:simpleType>
        <xsd:restriction base="dms:Text"/>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Balises d’image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98a733e-afab-4ace-943a-7dbafac8117b" elementFormDefault="qualified">
    <xsd:import namespace="http://schemas.microsoft.com/office/2006/documentManagement/types"/>
    <xsd:import namespace="http://schemas.microsoft.com/office/infopath/2007/PartnerControls"/>
    <xsd:element name="SharedWithUsers" ma:index="12"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4c902f9e-7128-4648-a04b-a0962e902142}" ma:internalName="TaxCatchAll" ma:showField="CatchAllData" ma:web="b98a733e-afab-4ace-943a-7dbafac8117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7"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b98a733e-afab-4ace-943a-7dbafac8117b" xsi:nil="true"/>
    <lcf76f155ced4ddcb4097134ff3c332f xmlns="b2350c62-7eb3-42b9-9bae-9a1293850a42">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2AC345-A31D-4461-97FB-C62C0676D6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350c62-7eb3-42b9-9bae-9a1293850a42"/>
    <ds:schemaRef ds:uri="b98a733e-afab-4ace-943a-7dbafac8117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E0894F-FDA2-47B3-BF3D-345FF3AD41E8}">
  <ds:schemaRefs>
    <ds:schemaRef ds:uri="http://schemas.microsoft.com/office/2006/metadata/properties"/>
    <ds:schemaRef ds:uri="http://schemas.microsoft.com/office/infopath/2007/PartnerControls"/>
    <ds:schemaRef ds:uri="b98a733e-afab-4ace-943a-7dbafac8117b"/>
    <ds:schemaRef ds:uri="b2350c62-7eb3-42b9-9bae-9a1293850a42"/>
  </ds:schemaRefs>
</ds:datastoreItem>
</file>

<file path=customXml/itemProps3.xml><?xml version="1.0" encoding="utf-8"?>
<ds:datastoreItem xmlns:ds="http://schemas.openxmlformats.org/officeDocument/2006/customXml" ds:itemID="{00E958CF-F599-4E1B-BFA9-62821DEE928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3653</TotalTime>
  <Words>2734</Words>
  <Application>Microsoft Office PowerPoint</Application>
  <PresentationFormat>Grand écran</PresentationFormat>
  <Paragraphs>630</Paragraphs>
  <Slides>21</Slides>
  <Notes>18</Notes>
  <HiddenSlides>0</HiddenSlides>
  <MMClips>0</MMClips>
  <ScaleCrop>false</ScaleCrop>
  <HeadingPairs>
    <vt:vector size="8" baseType="variant">
      <vt:variant>
        <vt:lpstr>Polices utilisées</vt:lpstr>
      </vt:variant>
      <vt:variant>
        <vt:i4>11</vt:i4>
      </vt:variant>
      <vt:variant>
        <vt:lpstr>Thème</vt:lpstr>
      </vt:variant>
      <vt:variant>
        <vt:i4>3</vt:i4>
      </vt:variant>
      <vt:variant>
        <vt:lpstr>Serveurs OLE incorporés</vt:lpstr>
      </vt:variant>
      <vt:variant>
        <vt:i4>3</vt:i4>
      </vt:variant>
      <vt:variant>
        <vt:lpstr>Titres des diapositives</vt:lpstr>
      </vt:variant>
      <vt:variant>
        <vt:i4>21</vt:i4>
      </vt:variant>
    </vt:vector>
  </HeadingPairs>
  <TitlesOfParts>
    <vt:vector size="38" baseType="lpstr">
      <vt:lpstr>Arial</vt:lpstr>
      <vt:lpstr>Arial Black</vt:lpstr>
      <vt:lpstr>AvenirNext LT Pro Regular</vt:lpstr>
      <vt:lpstr>Calibri</vt:lpstr>
      <vt:lpstr>Cambria Math</vt:lpstr>
      <vt:lpstr>FontAwesome</vt:lpstr>
      <vt:lpstr>Lato</vt:lpstr>
      <vt:lpstr>Lato  </vt:lpstr>
      <vt:lpstr>Times New Roman</vt:lpstr>
      <vt:lpstr>Verdana</vt:lpstr>
      <vt:lpstr>Wingdings</vt:lpstr>
      <vt:lpstr>Altran</vt:lpstr>
      <vt:lpstr>Theme Altran</vt:lpstr>
      <vt:lpstr>modele final</vt:lpstr>
      <vt:lpstr>think-cell Slide</vt:lpstr>
      <vt:lpstr>Diapositive think-cell</vt:lpstr>
      <vt:lpstr>Document</vt:lpstr>
      <vt:lpstr>Présentation PowerPoint</vt:lpstr>
      <vt:lpstr>      AGENDA</vt:lpstr>
      <vt:lpstr>01.</vt:lpstr>
      <vt:lpstr>      INTRODUCTION</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HP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HOSNI Awatef</dc:creator>
  <cp:lastModifiedBy>DAMEJ, MERIAME</cp:lastModifiedBy>
  <cp:revision>175</cp:revision>
  <dcterms:created xsi:type="dcterms:W3CDTF">2020-11-09T09:48:13Z</dcterms:created>
  <dcterms:modified xsi:type="dcterms:W3CDTF">2024-05-21T23:0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4F5CE2F5CEA946B6B391EE416611D2</vt:lpwstr>
  </property>
  <property fmtid="{D5CDD505-2E9C-101B-9397-08002B2CF9AE}" pid="3" name="psa_titre">
    <vt:lpwstr>Formation sur pilotage des Fixations</vt:lpwstr>
  </property>
  <property fmtid="{D5CDD505-2E9C-101B-9397-08002B2CF9AE}" pid="4" name="psa_reference">
    <vt:lpwstr>00914_23_00064</vt:lpwstr>
  </property>
  <property fmtid="{D5CDD505-2E9C-101B-9397-08002B2CF9AE}" pid="5" name="psa_date_creation">
    <vt:lpwstr>10/07/2023 17:01</vt:lpwstr>
  </property>
  <property fmtid="{D5CDD505-2E9C-101B-9397-08002B2CF9AE}" pid="6" name="psa_date_modification">
    <vt:lpwstr>10/07/2023 17:03</vt:lpwstr>
  </property>
  <property fmtid="{D5CDD505-2E9C-101B-9397-08002B2CF9AE}" pid="7" name="psa_auteur">
    <vt:lpwstr>SALMI HAMZA - SE10871 (CAPGEMINI TECHNOLOGY SERVICES) </vt:lpwstr>
  </property>
  <property fmtid="{D5CDD505-2E9C-101B-9397-08002B2CF9AE}" pid="8" name="psa_emetteur">
    <vt:lpwstr>SALMI HAMZA - SE10871 (CAPGEMINI TECHNOLOGY SERVICES) </vt:lpwstr>
  </property>
  <property fmtid="{D5CDD505-2E9C-101B-9397-08002B2CF9AE}" pid="9" name="psa_version">
    <vt:lpwstr>1.0</vt:lpwstr>
  </property>
  <property fmtid="{D5CDD505-2E9C-101B-9397-08002B2CF9AE}" pid="10" name="psa_commentaire">
    <vt:lpwstr/>
  </property>
  <property fmtid="{D5CDD505-2E9C-101B-9397-08002B2CF9AE}" pid="11" name="psa_langue_principale">
    <vt:lpwstr>Français</vt:lpwstr>
  </property>
  <property fmtid="{D5CDD505-2E9C-101B-9397-08002B2CF9AE}" pid="12" name="psa_status">
    <vt:lpwstr>publie</vt:lpwstr>
  </property>
  <property fmtid="{D5CDD505-2E9C-101B-9397-08002B2CF9AE}" pid="13" name="psa_type_doc">
    <vt:lpwstr/>
  </property>
  <property fmtid="{D5CDD505-2E9C-101B-9397-08002B2CF9AE}" pid="14" name="psa_communaute">
    <vt:lpwstr>Management Direction Projets véhicules et Vie série</vt:lpwstr>
  </property>
  <property fmtid="{D5CDD505-2E9C-101B-9397-08002B2CF9AE}" pid="15" name="psa_niveau_confidentialite">
    <vt:lpwstr>C2 - Interne</vt:lpwstr>
  </property>
  <property fmtid="{D5CDD505-2E9C-101B-9397-08002B2CF9AE}" pid="16" name="psa_url_fiche">
    <vt:lpwstr>http://docinfogroupe.inetpsa.com/ead/doc/ref.00914_23_00064/v.1.0</vt:lpwstr>
  </property>
  <property fmtid="{D5CDD505-2E9C-101B-9397-08002B2CF9AE}" pid="17" name="psa_url_modification">
    <vt:lpwstr>http://docinfogroupe.inetpsa.com/ead/doc/modif/ref.00914_23_00064/fiche</vt:lpwstr>
  </property>
  <property fmtid="{D5CDD505-2E9C-101B-9397-08002B2CF9AE}" pid="18" name="psa_date_publication">
    <vt:lpwstr>10/07/2023 17:03</vt:lpwstr>
  </property>
</Properties>
</file>